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4"/>
    <p:sldMasterId id="2147483751" r:id="rId5"/>
    <p:sldMasterId id="2147483664" r:id="rId6"/>
    <p:sldMasterId id="2147483771" r:id="rId7"/>
  </p:sldMasterIdLst>
  <p:notesMasterIdLst>
    <p:notesMasterId r:id="rId18"/>
  </p:notesMasterIdLst>
  <p:sldIdLst>
    <p:sldId id="256" r:id="rId8"/>
    <p:sldId id="5163" r:id="rId9"/>
    <p:sldId id="5168" r:id="rId10"/>
    <p:sldId id="4706" r:id="rId11"/>
    <p:sldId id="5166" r:id="rId12"/>
    <p:sldId id="1179" r:id="rId13"/>
    <p:sldId id="4698" r:id="rId14"/>
    <p:sldId id="5160" r:id="rId15"/>
    <p:sldId id="5162" r:id="rId16"/>
    <p:sldId id="5167" r:id="rId17"/>
  </p:sldIdLst>
  <p:sldSz cx="12192000" cy="6858000"/>
  <p:notesSz cx="7010400" cy="9296400"/>
  <p:custDataLst>
    <p:tags r:id="rId1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7A1F19-7F7E-AC63-7D1F-9E9C4633518E}" name="O'Halloran, Kevin" initials="OK" userId="S::kohalloran@tecoenergy.com::ed7b3c77-ef2a-4f6b-baca-81361b014a1b" providerId="AD"/>
  <p188:author id="{BE334A24-65C8-35FE-840E-85467BC4EBD5}" name="Richard, Justin T." initials="RJT" userId="S::JTRichard@tecoenergy.com::cc81e2b3-3724-4be7-bc4c-b53828496a35" providerId="AD"/>
  <p188:author id="{3D42AD3D-DA97-5057-96A5-084C789D6705}" name="Bramley, Karen L." initials="BKL" userId="S::KLBramley@tecoenergy.com::5ac5e046-1a27-4df7-9c33-917739027376" providerId="AD"/>
  <p188:author id="{D0319F59-7D19-332D-EFBE-8D8D0B08067E}" name="Kelley, Kristopher J." initials="KK" userId="S::kjkelley@tecoenergy.com::8c71b57d-a739-4084-aaab-5c882b0c653e" providerId="AD"/>
  <p188:author id="{10218F7E-81B8-7296-A9E9-E8E2762468F8}" name="Buzard, Luke A." initials="BA" userId="S::labuzard@tecoenergy.com::56b4ab77-7291-43eb-82fa-803a13182c56" providerId="AD"/>
  <p188:author id="{67C15587-3FC8-18BC-9AE8-E6A4F38D6369}" name="Bramley, Karen L." initials="BL" userId="S::klbramley@tecoenergy.com::5ac5e046-1a27-4df7-9c33-917739027376" providerId="AD"/>
  <p188:author id="{4097C38F-A58D-1A2B-DBEA-F9983471F870}" name="Wesley, Helen" initials="WH" userId="S::hwesley@tecoenergy.com::dd33787a-45ed-4b6e-b25f-766ef9577720" providerId="AD"/>
  <p188:author id="{1E69F8A3-FF92-D1F1-BE57-972EB0949E0A}" name="Bordine, Nora M." initials="BM" userId="S::nmbordine@tecoenergy.com::b3fddf9c-5e66-4019-a6c8-10d9fa1f212e" providerId="AD"/>
  <p188:author id="{85F87CB6-1FA5-B45C-4ACA-62885C5966B7}" name="Kelley, Kristopher J." initials="KK" userId="S::KJKelley@tecoenergy.com::8c71b57d-a739-4084-aaab-5c882b0c653e" providerId="AD"/>
  <p188:author id="{83DF45C2-EF7B-DF43-DFEB-2E0BEF5FDC37}" name="Bordine, Nora M." initials="BNM" userId="S::NMBordine@tecoenergy.com::b3fddf9c-5e66-4019-a6c8-10d9fa1f212e" providerId="AD"/>
  <p188:author id="{FDD77CC5-9A2E-108B-C4EC-75755C2C8783}" name="Parsons, Rachel B." initials="PB" userId="S::rbparsons@tecoenergy.com::56439c4c-ff66-4c1d-b920-d5283d3e3ecf" providerId="AD"/>
  <p188:author id="{BB76EBCD-9B1B-A64B-22BB-F06CFFB27DD7}" name="Richard, Justin T." initials="RT" userId="S::jtrichard@tecoenergy.com::cc81e2b3-3724-4be7-bc4c-b53828496a35" providerId="AD"/>
  <p188:author id="{0F29EDD1-481F-70F2-35D4-BB07B0128F10}" name="Wesley, Helen" initials="HW" userId="S::HWesley@tecoenergy.com::dd33787a-45ed-4b6e-b25f-766ef9577720" providerId="AD"/>
  <p188:author id="{2D681EDA-200A-96D9-F5C1-573488A3D10F}" name="Morgan II, Charles T." initials="MT" userId="S::ctmorganii@tecoenergy.com::b44b36c6-062f-44f1-9faf-f790b3f3e970" providerId="AD"/>
  <p188:author id="{DE34FDE6-AACB-8A6D-1F4D-6BFAF760363C}" name="Sola Diaz, Liliana B." initials="SB" userId="S::lbsoladiaz@tecoenergy.com::23577c99-8258-46b7-b13d-325c307816c7" providerId="AD"/>
  <p188:author id="{5159A4F4-12D4-CE80-E75D-CD2E566F30EE}" name="Wehle, Joann T." initials="WT" userId="S::jtwehle@tecoenergy.com::a85f265c-fa69-482c-8be1-6db502b02e5d" providerId="AD"/>
  <p188:author id="{2492DEF4-C360-BF73-9E96-58960076DB00}" name="Buzard, Luke A." initials="BLA" userId="S::LABuzard@tecoenergy.com::56b4ab77-7291-43eb-82fa-803a13182c56" providerId="AD"/>
  <p188:author id="{F7B3D3FB-25A3-DAD8-5D6E-095B55386ED7}" name="Hamilton, James K." initials="HJ" userId="S::jkhamilton@tecoenergy.com::8ce3acf4-333f-4ab9-acbc-36d303b8b2e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esley, Helen" initials="WH" lastIdx="7" clrIdx="0">
    <p:extLst>
      <p:ext uri="{19B8F6BF-5375-455C-9EA6-DF929625EA0E}">
        <p15:presenceInfo xmlns:p15="http://schemas.microsoft.com/office/powerpoint/2012/main" userId="S::hwesley@tecoenergy.com::dd33787a-45ed-4b6e-b25f-766ef9577720" providerId="AD"/>
      </p:ext>
    </p:extLst>
  </p:cmAuthor>
  <p:cmAuthor id="2" name="Bramley, Karen L." initials="KB" lastIdx="4" clrIdx="1">
    <p:extLst>
      <p:ext uri="{19B8F6BF-5375-455C-9EA6-DF929625EA0E}">
        <p15:presenceInfo xmlns:p15="http://schemas.microsoft.com/office/powerpoint/2012/main" userId="S::KLBramley@tecoenergy.com::5ac5e046-1a27-4df7-9c33-9177390273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8BC5FF"/>
    <a:srgbClr val="70AD47"/>
    <a:srgbClr val="69A12B"/>
    <a:srgbClr val="82C836"/>
    <a:srgbClr val="74B230"/>
    <a:srgbClr val="8ECDFC"/>
    <a:srgbClr val="66CCFF"/>
    <a:srgbClr val="0099FF"/>
    <a:srgbClr val="005F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36DD41-DE35-4DC7-BF8A-0A423702E23B}" v="1" dt="2024-12-16T04:16:26.357"/>
    <p1510:client id="{5A7589BB-6438-41B9-901A-7588117426D9}" v="44" dt="2024-12-15T13:04:33.2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438" y="6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amley, Karen L." userId="5ac5e046-1a27-4df7-9c33-917739027376" providerId="ADAL" clId="{4436DD41-DE35-4DC7-BF8A-0A423702E23B}"/>
    <pc:docChg chg="custSel modSld">
      <pc:chgData name="Bramley, Karen L." userId="5ac5e046-1a27-4df7-9c33-917739027376" providerId="ADAL" clId="{4436DD41-DE35-4DC7-BF8A-0A423702E23B}" dt="2024-12-16T04:20:22.235" v="189" actId="1076"/>
      <pc:docMkLst>
        <pc:docMk/>
      </pc:docMkLst>
      <pc:sldChg chg="addSp delSp modSp mod">
        <pc:chgData name="Bramley, Karen L." userId="5ac5e046-1a27-4df7-9c33-917739027376" providerId="ADAL" clId="{4436DD41-DE35-4DC7-BF8A-0A423702E23B}" dt="2024-12-16T04:20:22.235" v="189" actId="1076"/>
        <pc:sldMkLst>
          <pc:docMk/>
          <pc:sldMk cId="876322891" sldId="1179"/>
        </pc:sldMkLst>
        <pc:spChg chg="add mod">
          <ac:chgData name="Bramley, Karen L." userId="5ac5e046-1a27-4df7-9c33-917739027376" providerId="ADAL" clId="{4436DD41-DE35-4DC7-BF8A-0A423702E23B}" dt="2024-12-16T04:19:12.638" v="183" actId="6549"/>
          <ac:spMkLst>
            <pc:docMk/>
            <pc:sldMk cId="876322891" sldId="1179"/>
            <ac:spMk id="2" creationId="{BF0681BD-4B94-9CF9-600B-8816AFA13732}"/>
          </ac:spMkLst>
        </pc:spChg>
        <pc:spChg chg="del mod">
          <ac:chgData name="Bramley, Karen L." userId="5ac5e046-1a27-4df7-9c33-917739027376" providerId="ADAL" clId="{4436DD41-DE35-4DC7-BF8A-0A423702E23B}" dt="2024-12-16T04:14:26.430" v="18" actId="478"/>
          <ac:spMkLst>
            <pc:docMk/>
            <pc:sldMk cId="876322891" sldId="1179"/>
            <ac:spMk id="7" creationId="{DD7FB85A-99B8-5F09-8D8F-4B895F358D41}"/>
          </ac:spMkLst>
        </pc:spChg>
        <pc:spChg chg="del mod">
          <ac:chgData name="Bramley, Karen L." userId="5ac5e046-1a27-4df7-9c33-917739027376" providerId="ADAL" clId="{4436DD41-DE35-4DC7-BF8A-0A423702E23B}" dt="2024-12-16T04:14:35.027" v="21" actId="478"/>
          <ac:spMkLst>
            <pc:docMk/>
            <pc:sldMk cId="876322891" sldId="1179"/>
            <ac:spMk id="19" creationId="{C200460B-C1E6-8884-0D6C-EC539E98A793}"/>
          </ac:spMkLst>
        </pc:spChg>
        <pc:spChg chg="mod">
          <ac:chgData name="Bramley, Karen L." userId="5ac5e046-1a27-4df7-9c33-917739027376" providerId="ADAL" clId="{4436DD41-DE35-4DC7-BF8A-0A423702E23B}" dt="2024-12-16T04:15:10.499" v="22" actId="1076"/>
          <ac:spMkLst>
            <pc:docMk/>
            <pc:sldMk cId="876322891" sldId="1179"/>
            <ac:spMk id="64" creationId="{AA298323-C5FE-D6B3-A36E-B25DB4C70D2E}"/>
          </ac:spMkLst>
        </pc:spChg>
        <pc:spChg chg="mod">
          <ac:chgData name="Bramley, Karen L." userId="5ac5e046-1a27-4df7-9c33-917739027376" providerId="ADAL" clId="{4436DD41-DE35-4DC7-BF8A-0A423702E23B}" dt="2024-12-16T04:17:38.498" v="176" actId="1076"/>
          <ac:spMkLst>
            <pc:docMk/>
            <pc:sldMk cId="876322891" sldId="1179"/>
            <ac:spMk id="65" creationId="{D8448296-2493-3A37-943A-235F30E9E87B}"/>
          </ac:spMkLst>
        </pc:spChg>
        <pc:spChg chg="mod">
          <ac:chgData name="Bramley, Karen L." userId="5ac5e046-1a27-4df7-9c33-917739027376" providerId="ADAL" clId="{4436DD41-DE35-4DC7-BF8A-0A423702E23B}" dt="2024-12-16T04:19:24.581" v="184" actId="1076"/>
          <ac:spMkLst>
            <pc:docMk/>
            <pc:sldMk cId="876322891" sldId="1179"/>
            <ac:spMk id="66" creationId="{7AA62A46-0F13-0A61-EEDB-4AD0BCFE1343}"/>
          </ac:spMkLst>
        </pc:spChg>
        <pc:spChg chg="mod">
          <ac:chgData name="Bramley, Karen L." userId="5ac5e046-1a27-4df7-9c33-917739027376" providerId="ADAL" clId="{4436DD41-DE35-4DC7-BF8A-0A423702E23B}" dt="2024-12-16T04:16:10.019" v="76" actId="20577"/>
          <ac:spMkLst>
            <pc:docMk/>
            <pc:sldMk cId="876322891" sldId="1179"/>
            <ac:spMk id="67" creationId="{9841F7FE-B88B-C100-3457-32A51C294483}"/>
          </ac:spMkLst>
        </pc:spChg>
        <pc:spChg chg="mod">
          <ac:chgData name="Bramley, Karen L." userId="5ac5e046-1a27-4df7-9c33-917739027376" providerId="ADAL" clId="{4436DD41-DE35-4DC7-BF8A-0A423702E23B}" dt="2024-12-16T04:18:06.944" v="180" actId="1076"/>
          <ac:spMkLst>
            <pc:docMk/>
            <pc:sldMk cId="876322891" sldId="1179"/>
            <ac:spMk id="68" creationId="{1AAF4164-CA73-9062-E74A-786A6EE68C9D}"/>
          </ac:spMkLst>
        </pc:spChg>
        <pc:spChg chg="mod">
          <ac:chgData name="Bramley, Karen L." userId="5ac5e046-1a27-4df7-9c33-917739027376" providerId="ADAL" clId="{4436DD41-DE35-4DC7-BF8A-0A423702E23B}" dt="2024-12-16T04:19:39.436" v="187" actId="1076"/>
          <ac:spMkLst>
            <pc:docMk/>
            <pc:sldMk cId="876322891" sldId="1179"/>
            <ac:spMk id="69" creationId="{947D2738-3100-E826-C299-9EA98A0C7FB9}"/>
          </ac:spMkLst>
        </pc:spChg>
        <pc:spChg chg="mod">
          <ac:chgData name="Bramley, Karen L." userId="5ac5e046-1a27-4df7-9c33-917739027376" providerId="ADAL" clId="{4436DD41-DE35-4DC7-BF8A-0A423702E23B}" dt="2024-12-16T04:18:22.452" v="181" actId="1076"/>
          <ac:spMkLst>
            <pc:docMk/>
            <pc:sldMk cId="876322891" sldId="1179"/>
            <ac:spMk id="71" creationId="{9B1CF635-9AF9-0E83-C964-26E21191D48A}"/>
          </ac:spMkLst>
        </pc:spChg>
        <pc:spChg chg="mod">
          <ac:chgData name="Bramley, Karen L." userId="5ac5e046-1a27-4df7-9c33-917739027376" providerId="ADAL" clId="{4436DD41-DE35-4DC7-BF8A-0A423702E23B}" dt="2024-12-16T04:19:48.206" v="188" actId="1076"/>
          <ac:spMkLst>
            <pc:docMk/>
            <pc:sldMk cId="876322891" sldId="1179"/>
            <ac:spMk id="72" creationId="{2A88AE94-F434-E960-EC84-B4B021462798}"/>
          </ac:spMkLst>
        </pc:spChg>
        <pc:spChg chg="mod">
          <ac:chgData name="Bramley, Karen L." userId="5ac5e046-1a27-4df7-9c33-917739027376" providerId="ADAL" clId="{4436DD41-DE35-4DC7-BF8A-0A423702E23B}" dt="2024-12-16T04:15:26.132" v="24" actId="1076"/>
          <ac:spMkLst>
            <pc:docMk/>
            <pc:sldMk cId="876322891" sldId="1179"/>
            <ac:spMk id="73" creationId="{53DD8452-FF88-DAF8-B1C0-3E72B3B850ED}"/>
          </ac:spMkLst>
        </pc:spChg>
        <pc:spChg chg="mod">
          <ac:chgData name="Bramley, Karen L." userId="5ac5e046-1a27-4df7-9c33-917739027376" providerId="ADAL" clId="{4436DD41-DE35-4DC7-BF8A-0A423702E23B}" dt="2024-12-16T04:18:00.396" v="179" actId="1076"/>
          <ac:spMkLst>
            <pc:docMk/>
            <pc:sldMk cId="876322891" sldId="1179"/>
            <ac:spMk id="74" creationId="{6889B2DE-4C92-FDFF-7387-479F9C415A00}"/>
          </ac:spMkLst>
        </pc:spChg>
        <pc:spChg chg="mod">
          <ac:chgData name="Bramley, Karen L." userId="5ac5e046-1a27-4df7-9c33-917739027376" providerId="ADAL" clId="{4436DD41-DE35-4DC7-BF8A-0A423702E23B}" dt="2024-12-16T04:19:35.344" v="186" actId="1076"/>
          <ac:spMkLst>
            <pc:docMk/>
            <pc:sldMk cId="876322891" sldId="1179"/>
            <ac:spMk id="75" creationId="{4B047D8E-47AE-86EE-C21C-B9D3ADD4F2D0}"/>
          </ac:spMkLst>
        </pc:spChg>
        <pc:grpChg chg="mod">
          <ac:chgData name="Bramley, Karen L." userId="5ac5e046-1a27-4df7-9c33-917739027376" providerId="ADAL" clId="{4436DD41-DE35-4DC7-BF8A-0A423702E23B}" dt="2024-12-16T04:18:53.141" v="182" actId="1076"/>
          <ac:grpSpMkLst>
            <pc:docMk/>
            <pc:sldMk cId="876322891" sldId="1179"/>
            <ac:grpSpMk id="49" creationId="{A638CA66-4A6C-465B-87FE-A77D7D8B4F6A}"/>
          </ac:grpSpMkLst>
        </pc:grpChg>
        <pc:picChg chg="mod">
          <ac:chgData name="Bramley, Karen L." userId="5ac5e046-1a27-4df7-9c33-917739027376" providerId="ADAL" clId="{4436DD41-DE35-4DC7-BF8A-0A423702E23B}" dt="2024-12-16T04:20:22.235" v="189" actId="1076"/>
          <ac:picMkLst>
            <pc:docMk/>
            <pc:sldMk cId="876322891" sldId="1179"/>
            <ac:picMk id="5" creationId="{B633F472-9CFB-338A-DF0F-B7E80C827770}"/>
          </ac:picMkLst>
        </pc:picChg>
        <pc:picChg chg="del">
          <ac:chgData name="Bramley, Karen L." userId="5ac5e046-1a27-4df7-9c33-917739027376" providerId="ADAL" clId="{4436DD41-DE35-4DC7-BF8A-0A423702E23B}" dt="2024-12-16T04:14:29.458" v="19" actId="478"/>
          <ac:picMkLst>
            <pc:docMk/>
            <pc:sldMk cId="876322891" sldId="1179"/>
            <ac:picMk id="16" creationId="{A35BBEB8-7FF5-8890-055E-31426DD9C7F5}"/>
          </ac:picMkLst>
        </pc:picChg>
        <pc:picChg chg="mod">
          <ac:chgData name="Bramley, Karen L." userId="5ac5e046-1a27-4df7-9c33-917739027376" providerId="ADAL" clId="{4436DD41-DE35-4DC7-BF8A-0A423702E23B}" dt="2024-12-16T04:15:16.194" v="23" actId="1076"/>
          <ac:picMkLst>
            <pc:docMk/>
            <pc:sldMk cId="876322891" sldId="1179"/>
            <ac:picMk id="61" creationId="{8CEC801A-F4BA-1FBB-3257-D4975278725A}"/>
          </ac:picMkLst>
        </pc:picChg>
        <pc:picChg chg="mod">
          <ac:chgData name="Bramley, Karen L." userId="5ac5e046-1a27-4df7-9c33-917739027376" providerId="ADAL" clId="{4436DD41-DE35-4DC7-BF8A-0A423702E23B}" dt="2024-12-16T04:17:52.709" v="178" actId="1076"/>
          <ac:picMkLst>
            <pc:docMk/>
            <pc:sldMk cId="876322891" sldId="1179"/>
            <ac:picMk id="62" creationId="{D013D449-E0CC-5BD8-07C7-78131EC5316A}"/>
          </ac:picMkLst>
        </pc:picChg>
        <pc:picChg chg="mod">
          <ac:chgData name="Bramley, Karen L." userId="5ac5e046-1a27-4df7-9c33-917739027376" providerId="ADAL" clId="{4436DD41-DE35-4DC7-BF8A-0A423702E23B}" dt="2024-12-16T04:19:29.503" v="185" actId="1076"/>
          <ac:picMkLst>
            <pc:docMk/>
            <pc:sldMk cId="876322891" sldId="1179"/>
            <ac:picMk id="63" creationId="{15AFC47D-E53D-E380-7D37-A3422F25871C}"/>
          </ac:picMkLst>
        </pc:picChg>
      </pc:sldChg>
      <pc:sldChg chg="modSp mod">
        <pc:chgData name="Bramley, Karen L." userId="5ac5e046-1a27-4df7-9c33-917739027376" providerId="ADAL" clId="{4436DD41-DE35-4DC7-BF8A-0A423702E23B}" dt="2024-12-16T04:14:04.895" v="12" actId="6549"/>
        <pc:sldMkLst>
          <pc:docMk/>
          <pc:sldMk cId="3093945559" sldId="4698"/>
        </pc:sldMkLst>
        <pc:spChg chg="mod">
          <ac:chgData name="Bramley, Karen L." userId="5ac5e046-1a27-4df7-9c33-917739027376" providerId="ADAL" clId="{4436DD41-DE35-4DC7-BF8A-0A423702E23B}" dt="2024-12-16T04:14:04.895" v="12" actId="6549"/>
          <ac:spMkLst>
            <pc:docMk/>
            <pc:sldMk cId="3093945559" sldId="4698"/>
            <ac:spMk id="5" creationId="{35844F3D-454B-D1B3-DD4C-DB490529A69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D75444-91FD-4F30-91AC-CC51BA56D1FF}" type="doc">
      <dgm:prSet loTypeId="urn:microsoft.com/office/officeart/2005/8/layout/chevron1" loCatId="process" qsTypeId="urn:microsoft.com/office/officeart/2005/8/quickstyle/simple1" qsCatId="simple" csTypeId="urn:microsoft.com/office/officeart/2005/8/colors/colorful2" csCatId="colorful" phldr="1"/>
      <dgm:spPr/>
    </dgm:pt>
    <dgm:pt modelId="{A2E4DD70-F9E8-4AE7-A8B3-25AFB00E4986}" type="pres">
      <dgm:prSet presAssocID="{ABD75444-91FD-4F30-91AC-CC51BA56D1FF}" presName="Name0" presStyleCnt="0">
        <dgm:presLayoutVars>
          <dgm:dir/>
          <dgm:animLvl val="lvl"/>
          <dgm:resizeHandles val="exact"/>
        </dgm:presLayoutVars>
      </dgm:prSet>
      <dgm:spPr/>
    </dgm:pt>
  </dgm:ptLst>
  <dgm:cxnLst>
    <dgm:cxn modelId="{38C7F966-2407-44E5-BEC6-7B5B129D9AAD}" type="presOf" srcId="{ABD75444-91FD-4F30-91AC-CC51BA56D1FF}" destId="{A2E4DD70-F9E8-4AE7-A8B3-25AFB00E4986}" srcOrd="0" destOrd="0" presId="urn:microsoft.com/office/officeart/2005/8/layout/chevron1"/>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6921567-1A81-40B3-8994-1743364269EA}" type="datetimeFigureOut">
              <a:rPr lang="en-US" smtClean="0"/>
              <a:t>12/16/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21AA592-FE8A-4132-89F4-249D623C30DC}" type="slidenum">
              <a:rPr lang="en-US" smtClean="0"/>
              <a:t>‹#›</a:t>
            </a:fld>
            <a:endParaRPr lang="en-US"/>
          </a:p>
        </p:txBody>
      </p:sp>
    </p:spTree>
    <p:extLst>
      <p:ext uri="{BB962C8B-B14F-4D97-AF65-F5344CB8AC3E}">
        <p14:creationId xmlns:p14="http://schemas.microsoft.com/office/powerpoint/2010/main" val="3434750861"/>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21AA592-FE8A-4132-89F4-249D623C30DC}" type="slidenum">
              <a:rPr lang="en-US" smtClean="0"/>
              <a:t>1</a:t>
            </a:fld>
            <a:endParaRPr lang="en-US"/>
          </a:p>
        </p:txBody>
      </p:sp>
    </p:spTree>
    <p:extLst>
      <p:ext uri="{BB962C8B-B14F-4D97-AF65-F5344CB8AC3E}">
        <p14:creationId xmlns:p14="http://schemas.microsoft.com/office/powerpoint/2010/main" val="3900823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21AA592-FE8A-4132-89F4-249D623C30DC}" type="slidenum">
              <a:rPr lang="en-US" smtClean="0"/>
              <a:t>6</a:t>
            </a:fld>
            <a:endParaRPr lang="en-US"/>
          </a:p>
        </p:txBody>
      </p:sp>
    </p:spTree>
    <p:extLst>
      <p:ext uri="{BB962C8B-B14F-4D97-AF65-F5344CB8AC3E}">
        <p14:creationId xmlns:p14="http://schemas.microsoft.com/office/powerpoint/2010/main" val="3806942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21AA592-FE8A-4132-89F4-249D623C30DC}" type="slidenum">
              <a:rPr lang="en-US" smtClean="0"/>
              <a:t>7</a:t>
            </a:fld>
            <a:endParaRPr lang="en-US"/>
          </a:p>
        </p:txBody>
      </p:sp>
    </p:spTree>
    <p:extLst>
      <p:ext uri="{BB962C8B-B14F-4D97-AF65-F5344CB8AC3E}">
        <p14:creationId xmlns:p14="http://schemas.microsoft.com/office/powerpoint/2010/main" val="4546970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7.svg"/><Relationship Id="rId18" Type="http://schemas.openxmlformats.org/officeDocument/2006/relationships/image" Target="../media/image15.png"/><Relationship Id="rId3" Type="http://schemas.openxmlformats.org/officeDocument/2006/relationships/image" Target="../media/image7.emf"/><Relationship Id="rId7" Type="http://schemas.openxmlformats.org/officeDocument/2006/relationships/image" Target="../media/image11.svg"/><Relationship Id="rId12" Type="http://schemas.openxmlformats.org/officeDocument/2006/relationships/image" Target="../media/image12.png"/><Relationship Id="rId17" Type="http://schemas.openxmlformats.org/officeDocument/2006/relationships/image" Target="../media/image21.svg"/><Relationship Id="rId2" Type="http://schemas.openxmlformats.org/officeDocument/2006/relationships/image" Target="../media/image6.emf"/><Relationship Id="rId16"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9.png"/><Relationship Id="rId11" Type="http://schemas.openxmlformats.org/officeDocument/2006/relationships/image" Target="../media/image15.svg"/><Relationship Id="rId5" Type="http://schemas.openxmlformats.org/officeDocument/2006/relationships/image" Target="../media/image9.svg"/><Relationship Id="rId15" Type="http://schemas.openxmlformats.org/officeDocument/2006/relationships/image" Target="../media/image19.svg"/><Relationship Id="rId10" Type="http://schemas.openxmlformats.org/officeDocument/2006/relationships/image" Target="../media/image11.png"/><Relationship Id="rId19" Type="http://schemas.openxmlformats.org/officeDocument/2006/relationships/image" Target="../media/image23.svg"/><Relationship Id="rId4" Type="http://schemas.openxmlformats.org/officeDocument/2006/relationships/image" Target="../media/image8.png"/><Relationship Id="rId9" Type="http://schemas.openxmlformats.org/officeDocument/2006/relationships/image" Target="../media/image13.svg"/><Relationship Id="rId1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7.svg"/><Relationship Id="rId18" Type="http://schemas.openxmlformats.org/officeDocument/2006/relationships/image" Target="../media/image15.png"/><Relationship Id="rId3" Type="http://schemas.openxmlformats.org/officeDocument/2006/relationships/image" Target="../media/image7.emf"/><Relationship Id="rId7" Type="http://schemas.openxmlformats.org/officeDocument/2006/relationships/image" Target="../media/image11.svg"/><Relationship Id="rId12" Type="http://schemas.openxmlformats.org/officeDocument/2006/relationships/image" Target="../media/image12.png"/><Relationship Id="rId17" Type="http://schemas.openxmlformats.org/officeDocument/2006/relationships/image" Target="../media/image21.svg"/><Relationship Id="rId2" Type="http://schemas.openxmlformats.org/officeDocument/2006/relationships/image" Target="../media/image6.emf"/><Relationship Id="rId16" Type="http://schemas.openxmlformats.org/officeDocument/2006/relationships/image" Target="../media/image14.png"/><Relationship Id="rId1" Type="http://schemas.openxmlformats.org/officeDocument/2006/relationships/slideMaster" Target="../slideMasters/slideMaster4.xml"/><Relationship Id="rId6" Type="http://schemas.openxmlformats.org/officeDocument/2006/relationships/image" Target="../media/image9.png"/><Relationship Id="rId11" Type="http://schemas.openxmlformats.org/officeDocument/2006/relationships/image" Target="../media/image15.svg"/><Relationship Id="rId5" Type="http://schemas.openxmlformats.org/officeDocument/2006/relationships/image" Target="../media/image9.svg"/><Relationship Id="rId15" Type="http://schemas.openxmlformats.org/officeDocument/2006/relationships/image" Target="../media/image19.svg"/><Relationship Id="rId10" Type="http://schemas.openxmlformats.org/officeDocument/2006/relationships/image" Target="../media/image11.png"/><Relationship Id="rId19" Type="http://schemas.openxmlformats.org/officeDocument/2006/relationships/image" Target="../media/image23.svg"/><Relationship Id="rId4" Type="http://schemas.openxmlformats.org/officeDocument/2006/relationships/image" Target="../media/image8.png"/><Relationship Id="rId9" Type="http://schemas.openxmlformats.org/officeDocument/2006/relationships/image" Target="../media/image13.svg"/><Relationship Id="rId14" Type="http://schemas.openxmlformats.org/officeDocument/2006/relationships/image" Target="../media/image1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F5FB663-52EE-4738-BCF8-FEF18DFFDA70}"/>
              </a:ext>
            </a:extLst>
          </p:cNvPr>
          <p:cNvCxnSpPr>
            <a:cxnSpLocks/>
          </p:cNvCxnSpPr>
          <p:nvPr userDrawn="1"/>
        </p:nvCxnSpPr>
        <p:spPr>
          <a:xfrm>
            <a:off x="3456797" y="3295248"/>
            <a:ext cx="8735203" cy="0"/>
          </a:xfrm>
          <a:prstGeom prst="line">
            <a:avLst/>
          </a:prstGeom>
          <a:ln w="25400"/>
        </p:spPr>
        <p:style>
          <a:lnRef idx="1">
            <a:schemeClr val="accent2"/>
          </a:lnRef>
          <a:fillRef idx="0">
            <a:schemeClr val="accent2"/>
          </a:fillRef>
          <a:effectRef idx="0">
            <a:schemeClr val="accent2"/>
          </a:effectRef>
          <a:fontRef idx="minor">
            <a:schemeClr val="tx1"/>
          </a:fontRef>
        </p:style>
      </p:cxn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37917"/>
          <a:stretch/>
        </p:blipFill>
        <p:spPr>
          <a:xfrm>
            <a:off x="1" y="2622086"/>
            <a:ext cx="12191996" cy="4257676"/>
          </a:xfrm>
          <a:prstGeom prst="rect">
            <a:avLst/>
          </a:prstGeom>
        </p:spPr>
      </p:pic>
      <p:sp>
        <p:nvSpPr>
          <p:cNvPr id="2" name="Title 1"/>
          <p:cNvSpPr>
            <a:spLocks noGrp="1"/>
          </p:cNvSpPr>
          <p:nvPr>
            <p:ph type="ctrTitle" hasCustomPrompt="1"/>
          </p:nvPr>
        </p:nvSpPr>
        <p:spPr>
          <a:xfrm>
            <a:off x="3407701" y="3429000"/>
            <a:ext cx="8160907" cy="539411"/>
          </a:xfrm>
        </p:spPr>
        <p:txBody>
          <a:bodyPr>
            <a:noAutofit/>
          </a:bodyPr>
          <a:lstStyle>
            <a:lvl1pPr algn="l">
              <a:defRPr sz="4267" baseline="0">
                <a:solidFill>
                  <a:schemeClr val="tx1"/>
                </a:solidFill>
              </a:defRPr>
            </a:lvl1pPr>
          </a:lstStyle>
          <a:p>
            <a:r>
              <a:rPr lang="en-US"/>
              <a:t>Presentation Title Goes Here</a:t>
            </a:r>
            <a:endParaRPr lang="en-CA"/>
          </a:p>
        </p:txBody>
      </p:sp>
      <p:sp>
        <p:nvSpPr>
          <p:cNvPr id="3" name="Subtitle 2"/>
          <p:cNvSpPr>
            <a:spLocks noGrp="1"/>
          </p:cNvSpPr>
          <p:nvPr>
            <p:ph type="subTitle" idx="1" hasCustomPrompt="1"/>
          </p:nvPr>
        </p:nvSpPr>
        <p:spPr>
          <a:xfrm>
            <a:off x="3407701" y="2780928"/>
            <a:ext cx="8160907" cy="432048"/>
          </a:xfrm>
        </p:spPr>
        <p:txBody>
          <a:bodyPr anchor="ctr">
            <a:noAutofit/>
          </a:bodyPr>
          <a:lstStyle>
            <a:lvl1pPr marL="0" indent="0" algn="l">
              <a:buNone/>
              <a:defRPr sz="2133" cap="none" baseline="0">
                <a:solidFill>
                  <a:srgbClr val="005FAA"/>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DATE OF PRESENTATION HERE</a:t>
            </a:r>
            <a:endParaRPr lang="en-CA"/>
          </a:p>
        </p:txBody>
      </p:sp>
      <p:sp>
        <p:nvSpPr>
          <p:cNvPr id="5" name="Rectangle 4"/>
          <p:cNvSpPr/>
          <p:nvPr userDrawn="1"/>
        </p:nvSpPr>
        <p:spPr>
          <a:xfrm>
            <a:off x="527381" y="-1096"/>
            <a:ext cx="384043"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pic>
        <p:nvPicPr>
          <p:cNvPr id="7" name="Picture 6" descr="Logo&#10;&#10;Description automatically generated">
            <a:extLst>
              <a:ext uri="{FF2B5EF4-FFF2-40B4-BE49-F238E27FC236}">
                <a16:creationId xmlns:a16="http://schemas.microsoft.com/office/drawing/2014/main" id="{ABCDC7A2-E852-33B2-E38A-C650B6548F1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20800" y="990600"/>
            <a:ext cx="4397248" cy="1052371"/>
          </a:xfrm>
          <a:prstGeom prst="rect">
            <a:avLst/>
          </a:prstGeom>
        </p:spPr>
      </p:pic>
    </p:spTree>
    <p:extLst>
      <p:ext uri="{BB962C8B-B14F-4D97-AF65-F5344CB8AC3E}">
        <p14:creationId xmlns:p14="http://schemas.microsoft.com/office/powerpoint/2010/main" val="33694184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12/16/20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DD35DBF2-A8CF-448E-B167-C826703D0B69}" type="slidenum">
              <a:rPr lang="en-US" smtClean="0"/>
              <a:t>‹#›</a:t>
            </a:fld>
            <a:endParaRPr lang="en-US"/>
          </a:p>
        </p:txBody>
      </p:sp>
    </p:spTree>
    <p:extLst>
      <p:ext uri="{BB962C8B-B14F-4D97-AF65-F5344CB8AC3E}">
        <p14:creationId xmlns:p14="http://schemas.microsoft.com/office/powerpoint/2010/main" val="15165966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F5FB663-52EE-4738-BCF8-FEF18DFFDA70}"/>
              </a:ext>
            </a:extLst>
          </p:cNvPr>
          <p:cNvCxnSpPr>
            <a:cxnSpLocks/>
          </p:cNvCxnSpPr>
          <p:nvPr userDrawn="1"/>
        </p:nvCxnSpPr>
        <p:spPr>
          <a:xfrm>
            <a:off x="3456797" y="3295248"/>
            <a:ext cx="8735203" cy="0"/>
          </a:xfrm>
          <a:prstGeom prst="line">
            <a:avLst/>
          </a:prstGeom>
          <a:ln w="25400"/>
        </p:spPr>
        <p:style>
          <a:lnRef idx="1">
            <a:schemeClr val="accent2"/>
          </a:lnRef>
          <a:fillRef idx="0">
            <a:schemeClr val="accent2"/>
          </a:fillRef>
          <a:effectRef idx="0">
            <a:schemeClr val="accent2"/>
          </a:effectRef>
          <a:fontRef idx="minor">
            <a:schemeClr val="tx1"/>
          </a:fontRef>
        </p:style>
      </p:cxn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 y="0"/>
            <a:ext cx="12191996" cy="6857998"/>
          </a:xfrm>
          <a:prstGeom prst="rect">
            <a:avLst/>
          </a:prstGeom>
        </p:spPr>
      </p:pic>
      <p:sp>
        <p:nvSpPr>
          <p:cNvPr id="2" name="Title 1"/>
          <p:cNvSpPr>
            <a:spLocks noGrp="1"/>
          </p:cNvSpPr>
          <p:nvPr>
            <p:ph type="ctrTitle" hasCustomPrompt="1"/>
          </p:nvPr>
        </p:nvSpPr>
        <p:spPr>
          <a:xfrm>
            <a:off x="3407701" y="3429000"/>
            <a:ext cx="8160907" cy="936104"/>
          </a:xfrm>
        </p:spPr>
        <p:txBody>
          <a:bodyPr>
            <a:normAutofit/>
          </a:bodyPr>
          <a:lstStyle>
            <a:lvl1pPr algn="l">
              <a:defRPr sz="3600" baseline="0">
                <a:solidFill>
                  <a:schemeClr val="tx1"/>
                </a:solidFill>
              </a:defRPr>
            </a:lvl1pPr>
          </a:lstStyle>
          <a:p>
            <a:r>
              <a:rPr lang="en-US"/>
              <a:t>Presentation Title Goes </a:t>
            </a:r>
            <a:br>
              <a:rPr lang="en-US"/>
            </a:br>
            <a:r>
              <a:rPr lang="en-US"/>
              <a:t>Here</a:t>
            </a:r>
            <a:endParaRPr lang="en-CA"/>
          </a:p>
        </p:txBody>
      </p:sp>
      <p:sp>
        <p:nvSpPr>
          <p:cNvPr id="3" name="Subtitle 2"/>
          <p:cNvSpPr>
            <a:spLocks noGrp="1"/>
          </p:cNvSpPr>
          <p:nvPr>
            <p:ph type="subTitle" idx="1" hasCustomPrompt="1"/>
          </p:nvPr>
        </p:nvSpPr>
        <p:spPr>
          <a:xfrm>
            <a:off x="3407701" y="2780928"/>
            <a:ext cx="8160907" cy="432048"/>
          </a:xfrm>
        </p:spPr>
        <p:txBody>
          <a:bodyPr anchor="ctr">
            <a:normAutofit/>
          </a:bodyPr>
          <a:lstStyle>
            <a:lvl1pPr marL="0" indent="0" algn="l">
              <a:buNone/>
              <a:defRPr sz="2400" cap="all" baseline="0">
                <a:solidFill>
                  <a:srgbClr val="005FA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Date of presentation here</a:t>
            </a:r>
            <a:endParaRPr lang="en-CA"/>
          </a:p>
        </p:txBody>
      </p:sp>
      <p:sp>
        <p:nvSpPr>
          <p:cNvPr id="5" name="Rectangle 4"/>
          <p:cNvSpPr/>
          <p:nvPr userDrawn="1"/>
        </p:nvSpPr>
        <p:spPr>
          <a:xfrm>
            <a:off x="527381" y="-1096"/>
            <a:ext cx="384043"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Tree>
    <p:extLst>
      <p:ext uri="{BB962C8B-B14F-4D97-AF65-F5344CB8AC3E}">
        <p14:creationId xmlns:p14="http://schemas.microsoft.com/office/powerpoint/2010/main" val="4239861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52B4B01-D29A-49F1-A415-5050E16D56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7998"/>
          </a:xfrm>
          <a:prstGeom prst="rect">
            <a:avLst/>
          </a:prstGeom>
        </p:spPr>
      </p:pic>
      <p:cxnSp>
        <p:nvCxnSpPr>
          <p:cNvPr id="6" name="Straight Connector 5">
            <a:extLst>
              <a:ext uri="{FF2B5EF4-FFF2-40B4-BE49-F238E27FC236}">
                <a16:creationId xmlns:a16="http://schemas.microsoft.com/office/drawing/2014/main" id="{6F5FB663-52EE-4738-BCF8-FEF18DFFDA70}"/>
              </a:ext>
            </a:extLst>
          </p:cNvPr>
          <p:cNvCxnSpPr>
            <a:cxnSpLocks/>
          </p:cNvCxnSpPr>
          <p:nvPr userDrawn="1"/>
        </p:nvCxnSpPr>
        <p:spPr>
          <a:xfrm>
            <a:off x="3456797" y="3295248"/>
            <a:ext cx="8735203" cy="0"/>
          </a:xfrm>
          <a:prstGeom prst="line">
            <a:avLst/>
          </a:prstGeom>
          <a:ln w="25400"/>
        </p:spPr>
        <p:style>
          <a:lnRef idx="1">
            <a:schemeClr val="accent2"/>
          </a:lnRef>
          <a:fillRef idx="0">
            <a:schemeClr val="accent2"/>
          </a:fillRef>
          <a:effectRef idx="0">
            <a:schemeClr val="accent2"/>
          </a:effectRef>
          <a:fontRef idx="minor">
            <a:schemeClr val="tx1"/>
          </a:fontRef>
        </p:style>
      </p:cxnSp>
      <p:sp>
        <p:nvSpPr>
          <p:cNvPr id="2" name="Title 1"/>
          <p:cNvSpPr>
            <a:spLocks noGrp="1"/>
          </p:cNvSpPr>
          <p:nvPr>
            <p:ph type="ctrTitle" hasCustomPrompt="1"/>
          </p:nvPr>
        </p:nvSpPr>
        <p:spPr>
          <a:xfrm>
            <a:off x="3407701" y="3429000"/>
            <a:ext cx="8160907" cy="936104"/>
          </a:xfrm>
        </p:spPr>
        <p:txBody>
          <a:bodyPr>
            <a:normAutofit/>
          </a:bodyPr>
          <a:lstStyle>
            <a:lvl1pPr algn="l">
              <a:defRPr sz="3600" baseline="0">
                <a:solidFill>
                  <a:schemeClr val="tx1"/>
                </a:solidFill>
              </a:defRPr>
            </a:lvl1pPr>
          </a:lstStyle>
          <a:p>
            <a:r>
              <a:rPr lang="en-US"/>
              <a:t>Presentation Title Goes </a:t>
            </a:r>
            <a:br>
              <a:rPr lang="en-US"/>
            </a:br>
            <a:r>
              <a:rPr lang="en-US"/>
              <a:t>Here</a:t>
            </a:r>
            <a:endParaRPr lang="en-CA"/>
          </a:p>
        </p:txBody>
      </p:sp>
      <p:sp>
        <p:nvSpPr>
          <p:cNvPr id="3" name="Subtitle 2"/>
          <p:cNvSpPr>
            <a:spLocks noGrp="1"/>
          </p:cNvSpPr>
          <p:nvPr>
            <p:ph type="subTitle" idx="1" hasCustomPrompt="1"/>
          </p:nvPr>
        </p:nvSpPr>
        <p:spPr>
          <a:xfrm>
            <a:off x="3407701" y="2780928"/>
            <a:ext cx="8160907" cy="432048"/>
          </a:xfrm>
        </p:spPr>
        <p:txBody>
          <a:bodyPr anchor="ctr">
            <a:normAutofit/>
          </a:bodyPr>
          <a:lstStyle>
            <a:lvl1pPr marL="0" indent="0" algn="l">
              <a:buNone/>
              <a:defRPr sz="2400" cap="all" baseline="0">
                <a:solidFill>
                  <a:srgbClr val="005FA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Date of presentation here</a:t>
            </a:r>
            <a:endParaRPr lang="en-CA"/>
          </a:p>
        </p:txBody>
      </p:sp>
      <p:sp>
        <p:nvSpPr>
          <p:cNvPr id="5" name="Rectangle 4"/>
          <p:cNvSpPr/>
          <p:nvPr userDrawn="1"/>
        </p:nvSpPr>
        <p:spPr>
          <a:xfrm>
            <a:off x="527381" y="-1096"/>
            <a:ext cx="384043"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Tree>
    <p:extLst>
      <p:ext uri="{BB962C8B-B14F-4D97-AF65-F5344CB8AC3E}">
        <p14:creationId xmlns:p14="http://schemas.microsoft.com/office/powerpoint/2010/main" val="16248211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3392" y="1412776"/>
            <a:ext cx="10972800" cy="4536504"/>
          </a:xfrm>
        </p:spPr>
        <p:txBody>
          <a:bodyPr/>
          <a:lstStyle>
            <a:lvl1pPr marL="0" indent="0">
              <a:buClr>
                <a:schemeClr val="bg1"/>
              </a:buClr>
              <a:buFont typeface="Arial" pitchFamily="34" charset="0"/>
              <a:buChar char="•"/>
              <a:tabLst/>
              <a:defRPr lang="en-US" sz="3000" kern="1200" cap="none" baseline="0" dirty="0" smtClean="0">
                <a:solidFill>
                  <a:schemeClr val="tx1">
                    <a:lumMod val="95000"/>
                    <a:lumOff val="5000"/>
                  </a:schemeClr>
                </a:solidFill>
                <a:latin typeface="+mj-lt"/>
                <a:ea typeface="+mn-ea"/>
                <a:cs typeface="+mn-cs"/>
              </a:defRPr>
            </a:lvl1pPr>
            <a:lvl2pPr marL="450850" indent="-276225">
              <a:buClr>
                <a:srgbClr val="005FAA"/>
              </a:buClr>
              <a:buFont typeface="Wingdings" pitchFamily="2" charset="2"/>
              <a:buChar char="§"/>
              <a:tabLst/>
              <a:defRPr>
                <a:latin typeface="+mj-lt"/>
              </a:defRPr>
            </a:lvl2pPr>
            <a:lvl3pPr marL="801688" indent="-317500">
              <a:buClr>
                <a:srgbClr val="005FAA"/>
              </a:buClr>
              <a:buFont typeface="Arial" pitchFamily="34" charset="0"/>
              <a:buChar char="•"/>
              <a:defRPr sz="2400">
                <a:latin typeface="+mj-lt"/>
              </a:defRPr>
            </a:lvl3pPr>
            <a:lvl4pPr marL="1169988" indent="-241300">
              <a:buClr>
                <a:srgbClr val="005FAA"/>
              </a:buClr>
              <a:buFont typeface="Corbel" pitchFamily="34" charset="0"/>
              <a:buChar char="–"/>
              <a:defRPr sz="2000">
                <a:latin typeface="+mj-lt"/>
              </a:defRPr>
            </a:lvl4pPr>
            <a:lvl5pPr marL="1612900" indent="-228600">
              <a:buClr>
                <a:srgbClr val="005FAA"/>
              </a:buClr>
              <a:buFont typeface="Arial" pitchFamily="34" charset="0"/>
              <a:buChar char="»"/>
              <a:defRPr sz="1800">
                <a:latin typeface="+mj-lt"/>
              </a:defRPr>
            </a:lvl5pPr>
            <a:lvl6pPr marL="2057400" indent="-228600">
              <a:buClr>
                <a:schemeClr val="accent6"/>
              </a:buClr>
              <a:buFont typeface="Calibri" pitchFamily="34" charset="0"/>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lvl1pPr>
              <a:defRPr baseline="0">
                <a:latin typeface="Calibri" pitchFamily="34" charset="0"/>
              </a:defRPr>
            </a:lvl1pPr>
          </a:lstStyle>
          <a:p>
            <a:r>
              <a:rPr lang="en-US"/>
              <a:t>Click to edit Master title style</a:t>
            </a:r>
            <a:endParaRPr lang="en-CA"/>
          </a:p>
        </p:txBody>
      </p:sp>
    </p:spTree>
    <p:extLst>
      <p:ext uri="{BB962C8B-B14F-4D97-AF65-F5344CB8AC3E}">
        <p14:creationId xmlns:p14="http://schemas.microsoft.com/office/powerpoint/2010/main" val="26041044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Chart Placeholder 3"/>
          <p:cNvSpPr>
            <a:spLocks noGrp="1"/>
          </p:cNvSpPr>
          <p:nvPr>
            <p:ph type="chart" sz="quarter" idx="10"/>
          </p:nvPr>
        </p:nvSpPr>
        <p:spPr>
          <a:xfrm>
            <a:off x="624087" y="1412776"/>
            <a:ext cx="11040533" cy="4320480"/>
          </a:xfrm>
        </p:spPr>
        <p:txBody>
          <a:bodyPr/>
          <a:lstStyle/>
          <a:p>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8828601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lvl1pPr>
              <a:defRPr>
                <a:solidFill>
                  <a:schemeClr val="tx1">
                    <a:lumMod val="95000"/>
                    <a:lumOff val="5000"/>
                  </a:schemeClr>
                </a:solidFill>
              </a:defRPr>
            </a:lvl1pPr>
          </a:lstStyle>
          <a:p>
            <a:fld id="{B6362DDE-5EFE-4D6A-AD62-664744385D96}" type="slidenum">
              <a:rPr lang="en-CA" smtClean="0"/>
              <a:pPr/>
              <a:t>‹#›</a:t>
            </a:fld>
            <a:endParaRPr lang="en-CA"/>
          </a:p>
        </p:txBody>
      </p:sp>
      <p:sp>
        <p:nvSpPr>
          <p:cNvPr id="5" name="Table Placeholder 4"/>
          <p:cNvSpPr>
            <a:spLocks noGrp="1"/>
          </p:cNvSpPr>
          <p:nvPr>
            <p:ph type="tbl" sz="quarter" idx="11"/>
          </p:nvPr>
        </p:nvSpPr>
        <p:spPr>
          <a:xfrm>
            <a:off x="624419" y="1412776"/>
            <a:ext cx="11040533" cy="3960440"/>
          </a:xfrm>
        </p:spPr>
        <p:txBody>
          <a:bodyPr/>
          <a:lstStyle/>
          <a:p>
            <a:endParaRPr lang="en-CA"/>
          </a:p>
        </p:txBody>
      </p:sp>
    </p:spTree>
    <p:extLst>
      <p:ext uri="{BB962C8B-B14F-4D97-AF65-F5344CB8AC3E}">
        <p14:creationId xmlns:p14="http://schemas.microsoft.com/office/powerpoint/2010/main" val="42838800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NSP 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p>
            <a:fld id="{B6362DDE-5EFE-4D6A-AD62-664744385D96}" type="slidenum">
              <a:rPr lang="en-CA" smtClean="0"/>
              <a:pPr/>
              <a:t>‹#›</a:t>
            </a:fld>
            <a:endParaRPr lang="en-CA"/>
          </a:p>
        </p:txBody>
      </p:sp>
      <p:sp>
        <p:nvSpPr>
          <p:cNvPr id="6" name="Picture Placeholder 5"/>
          <p:cNvSpPr>
            <a:spLocks noGrp="1"/>
          </p:cNvSpPr>
          <p:nvPr>
            <p:ph type="pic" sz="quarter" idx="11"/>
          </p:nvPr>
        </p:nvSpPr>
        <p:spPr>
          <a:xfrm>
            <a:off x="6864085" y="1413322"/>
            <a:ext cx="4608248" cy="4392488"/>
          </a:xfrm>
          <a:noFill/>
          <a:ln>
            <a:solidFill>
              <a:srgbClr val="005FAA"/>
            </a:solidFill>
          </a:ln>
        </p:spPr>
        <p:txBody>
          <a:bodyPr/>
          <a:lstStyle>
            <a:lvl1pPr marL="87313" indent="-87313">
              <a:defRPr/>
            </a:lvl1pPr>
          </a:lstStyle>
          <a:p>
            <a:r>
              <a:rPr lang="en-US"/>
              <a:t>Click icon to add picture</a:t>
            </a:r>
            <a:endParaRPr lang="en-CA"/>
          </a:p>
        </p:txBody>
      </p:sp>
      <p:sp>
        <p:nvSpPr>
          <p:cNvPr id="8" name="Text Placeholder 7"/>
          <p:cNvSpPr>
            <a:spLocks noGrp="1"/>
          </p:cNvSpPr>
          <p:nvPr>
            <p:ph type="body" sz="quarter" idx="12" hasCustomPrompt="1"/>
          </p:nvPr>
        </p:nvSpPr>
        <p:spPr>
          <a:xfrm>
            <a:off x="623392" y="1412776"/>
            <a:ext cx="5472608" cy="4392488"/>
          </a:xfrm>
        </p:spPr>
        <p:txBody>
          <a:bodyPr/>
          <a:lstStyle>
            <a:lvl1pPr marL="0" indent="0">
              <a:buFont typeface="Arial" pitchFamily="34" charset="0"/>
              <a:buNone/>
              <a:tabLst/>
              <a:defRPr sz="3000" cap="none" baseline="0">
                <a:solidFill>
                  <a:schemeClr val="tx1">
                    <a:lumMod val="95000"/>
                    <a:lumOff val="5000"/>
                  </a:schemeClr>
                </a:solidFill>
              </a:defRPr>
            </a:lvl1pPr>
            <a:lvl2pPr marL="450850" indent="-276225">
              <a:buClr>
                <a:srgbClr val="005FAA"/>
              </a:buClr>
              <a:buFont typeface="Wingdings" pitchFamily="2" charset="2"/>
              <a:buChar char="§"/>
              <a:defRPr sz="2400"/>
            </a:lvl2pPr>
            <a:lvl3pPr marL="714375" indent="-176213">
              <a:buClr>
                <a:srgbClr val="005FAA"/>
              </a:buClr>
              <a:buFont typeface="Arial" pitchFamily="34" charset="0"/>
              <a:buChar char="•"/>
              <a:defRPr sz="2000"/>
            </a:lvl3pPr>
            <a:lvl4pPr>
              <a:buClr>
                <a:srgbClr val="005FAA"/>
              </a:buClr>
              <a:defRPr sz="1800"/>
            </a:lvl4pPr>
            <a:lvl5pPr>
              <a:buClr>
                <a:srgbClr val="005FAA"/>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US"/>
          </a:p>
        </p:txBody>
      </p:sp>
    </p:spTree>
    <p:extLst>
      <p:ext uri="{BB962C8B-B14F-4D97-AF65-F5344CB8AC3E}">
        <p14:creationId xmlns:p14="http://schemas.microsoft.com/office/powerpoint/2010/main" val="40245966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p>
            <a:fld id="{B6362DDE-5EFE-4D6A-AD62-664744385D96}" type="slidenum">
              <a:rPr lang="en-CA" smtClean="0"/>
              <a:pPr/>
              <a:t>‹#›</a:t>
            </a:fld>
            <a:endParaRPr lang="en-CA"/>
          </a:p>
        </p:txBody>
      </p:sp>
      <p:sp>
        <p:nvSpPr>
          <p:cNvPr id="7" name="Text Placeholder 6"/>
          <p:cNvSpPr>
            <a:spLocks noGrp="1"/>
          </p:cNvSpPr>
          <p:nvPr>
            <p:ph type="body" sz="quarter" idx="11" hasCustomPrompt="1"/>
          </p:nvPr>
        </p:nvSpPr>
        <p:spPr>
          <a:xfrm>
            <a:off x="624419" y="1412776"/>
            <a:ext cx="11040533" cy="4320480"/>
          </a:xfrm>
        </p:spPr>
        <p:txBody>
          <a:bodyPr/>
          <a:lstStyle>
            <a:lvl1pPr>
              <a:defRPr sz="3000" cap="none" baseline="0">
                <a:solidFill>
                  <a:schemeClr val="bg1">
                    <a:lumMod val="50000"/>
                  </a:schemeClr>
                </a:solidFill>
              </a:defRPr>
            </a:lvl1pPr>
            <a:lvl2pPr marL="450850" indent="-263525">
              <a:buClr>
                <a:srgbClr val="005FAA"/>
              </a:buClr>
              <a:buFont typeface="Wingdings" pitchFamily="2" charset="2"/>
              <a:buChar char="§"/>
              <a:defRPr sz="2800" baseline="0">
                <a:solidFill>
                  <a:schemeClr val="tx1"/>
                </a:solidFill>
              </a:defRPr>
            </a:lvl2pPr>
            <a:lvl3pPr marL="717550" indent="-228600">
              <a:buFont typeface="Arial" pitchFamily="34" charset="0"/>
              <a:buChar char="•"/>
              <a:defRPr sz="2400" baseline="0">
                <a:solidFill>
                  <a:schemeClr val="tx1"/>
                </a:solidFill>
              </a:defRPr>
            </a:lvl3pPr>
            <a:lvl4pPr>
              <a:buFont typeface="Corbel" pitchFamily="34" charset="0"/>
              <a:buChar char="–"/>
              <a:defRPr lang="en-US" sz="2000" baseline="0" dirty="0" smtClean="0">
                <a:solidFill>
                  <a:schemeClr val="tx1"/>
                </a:solidFill>
              </a:defRPr>
            </a:lvl4pPr>
            <a:lvl5pPr>
              <a:buFont typeface="Arial" pitchFamily="34" charset="0"/>
              <a:buChar char="»"/>
              <a:defRPr sz="160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Tree>
    <p:extLst>
      <p:ext uri="{BB962C8B-B14F-4D97-AF65-F5344CB8AC3E}">
        <p14:creationId xmlns:p14="http://schemas.microsoft.com/office/powerpoint/2010/main" val="34225724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5" name="Slide Number Placeholder 4"/>
          <p:cNvSpPr>
            <a:spLocks noGrp="1"/>
          </p:cNvSpPr>
          <p:nvPr>
            <p:ph type="sldNum" sz="quarter" idx="12"/>
          </p:nvPr>
        </p:nvSpPr>
        <p:spPr/>
        <p:txBody>
          <a:bodyPr/>
          <a:lstStyle/>
          <a:p>
            <a:fld id="{316606D5-A87C-4FD8-864B-AE5EA5CA2F96}" type="slidenum">
              <a:rPr lang="en-CA" smtClean="0"/>
              <a:pPr/>
              <a:t>‹#›</a:t>
            </a:fld>
            <a:endParaRPr lang="en-CA"/>
          </a:p>
        </p:txBody>
      </p:sp>
      <p:sp>
        <p:nvSpPr>
          <p:cNvPr id="7" name="Table Placeholder 6"/>
          <p:cNvSpPr>
            <a:spLocks noGrp="1"/>
          </p:cNvSpPr>
          <p:nvPr>
            <p:ph type="tbl" sz="quarter" idx="13"/>
          </p:nvPr>
        </p:nvSpPr>
        <p:spPr>
          <a:xfrm>
            <a:off x="623393" y="1412776"/>
            <a:ext cx="10752667" cy="4032448"/>
          </a:xfrm>
        </p:spPr>
        <p:txBody>
          <a:bodyPr/>
          <a:lstStyle/>
          <a:p>
            <a:endParaRPr lang="en-CA"/>
          </a:p>
        </p:txBody>
      </p:sp>
    </p:spTree>
    <p:extLst>
      <p:ext uri="{BB962C8B-B14F-4D97-AF65-F5344CB8AC3E}">
        <p14:creationId xmlns:p14="http://schemas.microsoft.com/office/powerpoint/2010/main" val="8532340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3392" y="1412776"/>
            <a:ext cx="10972800" cy="4536504"/>
          </a:xfrm>
        </p:spPr>
        <p:txBody>
          <a:bodyPr/>
          <a:lstStyle>
            <a:lvl1pPr marL="0" indent="0">
              <a:buClr>
                <a:schemeClr val="bg1"/>
              </a:buClr>
              <a:buFont typeface="Arial" pitchFamily="34" charset="0"/>
              <a:buChar char="•"/>
              <a:tabLst/>
              <a:defRPr lang="en-US" sz="3000" kern="1200" cap="none" baseline="0" dirty="0" smtClean="0">
                <a:solidFill>
                  <a:schemeClr val="tx1">
                    <a:lumMod val="95000"/>
                    <a:lumOff val="5000"/>
                  </a:schemeClr>
                </a:solidFill>
                <a:latin typeface="+mj-lt"/>
                <a:ea typeface="+mn-ea"/>
                <a:cs typeface="+mn-cs"/>
              </a:defRPr>
            </a:lvl1pPr>
            <a:lvl2pPr marL="450850" indent="-276225">
              <a:buClr>
                <a:srgbClr val="005FAA"/>
              </a:buClr>
              <a:buFont typeface="Wingdings" pitchFamily="2" charset="2"/>
              <a:buChar char="§"/>
              <a:tabLst/>
              <a:defRPr>
                <a:latin typeface="+mj-lt"/>
              </a:defRPr>
            </a:lvl2pPr>
            <a:lvl3pPr marL="801688" indent="-317500">
              <a:buClr>
                <a:srgbClr val="005FAA"/>
              </a:buClr>
              <a:buFont typeface="Arial" pitchFamily="34" charset="0"/>
              <a:buChar char="•"/>
              <a:defRPr sz="2400">
                <a:latin typeface="+mj-lt"/>
              </a:defRPr>
            </a:lvl3pPr>
            <a:lvl4pPr marL="1169988" indent="-241300">
              <a:buClr>
                <a:srgbClr val="005FAA"/>
              </a:buClr>
              <a:buFont typeface="Corbel" pitchFamily="34" charset="0"/>
              <a:buChar char="–"/>
              <a:defRPr sz="2000">
                <a:latin typeface="+mj-lt"/>
              </a:defRPr>
            </a:lvl4pPr>
            <a:lvl5pPr marL="1612900" indent="-228600">
              <a:buClr>
                <a:srgbClr val="005FAA"/>
              </a:buClr>
              <a:buFont typeface="Arial" pitchFamily="34" charset="0"/>
              <a:buChar char="»"/>
              <a:defRPr sz="1800">
                <a:latin typeface="+mj-lt"/>
              </a:defRPr>
            </a:lvl5pPr>
            <a:lvl6pPr marL="2057400" indent="-228600">
              <a:buClr>
                <a:schemeClr val="accent6"/>
              </a:buClr>
              <a:buFont typeface="Calibri" pitchFamily="34" charset="0"/>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623392" y="44624"/>
            <a:ext cx="10959008" cy="980728"/>
          </a:xfrm>
          <a:prstGeom prst="rect">
            <a:avLst/>
          </a:prstGeom>
        </p:spPr>
        <p:txBody>
          <a:bodyPr vert="horz" lIns="91440" tIns="45720" rIns="91440" bIns="45720" rtlCol="0" anchor="ctr">
            <a:normAutofit/>
          </a:bodyPr>
          <a:lstStyle>
            <a:lvl1pPr>
              <a:defRPr baseline="0">
                <a:latin typeface="Calibri" pitchFamily="34" charset="0"/>
              </a:defRPr>
            </a:lvl1pPr>
          </a:lstStyle>
          <a:p>
            <a:r>
              <a:rPr lang="en-US"/>
              <a:t>Click to edit Master title style</a:t>
            </a:r>
            <a:endParaRPr lang="en-CA"/>
          </a:p>
        </p:txBody>
      </p:sp>
    </p:spTree>
    <p:extLst>
      <p:ext uri="{BB962C8B-B14F-4D97-AF65-F5344CB8AC3E}">
        <p14:creationId xmlns:p14="http://schemas.microsoft.com/office/powerpoint/2010/main" val="3271954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3392" y="1412776"/>
            <a:ext cx="10972800" cy="4536504"/>
          </a:xfrm>
        </p:spPr>
        <p:txBody>
          <a:bodyPr>
            <a:normAutofit/>
          </a:bodyPr>
          <a:lstStyle>
            <a:lvl1pPr marL="0" indent="0">
              <a:buClr>
                <a:schemeClr val="bg1"/>
              </a:buClr>
              <a:buFont typeface="Arial" pitchFamily="34" charset="0"/>
              <a:buChar char="•"/>
              <a:tabLst/>
              <a:defRPr lang="en-US" sz="2133" kern="1200" cap="none" baseline="0" dirty="0" smtClean="0">
                <a:solidFill>
                  <a:schemeClr val="tx1">
                    <a:lumMod val="95000"/>
                    <a:lumOff val="5000"/>
                  </a:schemeClr>
                </a:solidFill>
                <a:latin typeface="+mn-lt"/>
                <a:ea typeface="+mn-ea"/>
                <a:cs typeface="+mn-cs"/>
              </a:defRPr>
            </a:lvl1pPr>
            <a:lvl2pPr marL="450839" indent="-276218">
              <a:buClr>
                <a:srgbClr val="005FAA"/>
              </a:buClr>
              <a:buSzPct val="75000"/>
              <a:buFont typeface="Wingdings" pitchFamily="2" charset="2"/>
              <a:buChar char="§"/>
              <a:tabLst/>
              <a:defRPr sz="2133">
                <a:latin typeface="+mn-lt"/>
              </a:defRPr>
            </a:lvl2pPr>
            <a:lvl3pPr marL="801668" indent="-317492">
              <a:buClr>
                <a:srgbClr val="005FAA"/>
              </a:buClr>
              <a:buFont typeface="Arial" pitchFamily="34" charset="0"/>
              <a:buChar char="•"/>
              <a:defRPr sz="2133">
                <a:latin typeface="+mn-lt"/>
              </a:defRPr>
            </a:lvl3pPr>
            <a:lvl4pPr marL="1169959" indent="-241294">
              <a:buClr>
                <a:srgbClr val="005FAA"/>
              </a:buClr>
              <a:buFont typeface="Corbel" pitchFamily="34" charset="0"/>
              <a:buChar char="–"/>
              <a:defRPr sz="2133">
                <a:latin typeface="+mn-lt"/>
              </a:defRPr>
            </a:lvl4pPr>
            <a:lvl5pPr marL="1612860" indent="-228594">
              <a:buClr>
                <a:srgbClr val="005FAA"/>
              </a:buClr>
              <a:buFont typeface="Arial" pitchFamily="34" charset="0"/>
              <a:buChar char="»"/>
              <a:defRPr sz="2133">
                <a:latin typeface="+mn-lt"/>
              </a:defRPr>
            </a:lvl5pPr>
            <a:lvl6pPr marL="2057349" indent="-228594">
              <a:buClr>
                <a:schemeClr val="accent6"/>
              </a:buClr>
              <a:buFont typeface="Calibri" pitchFamily="34" charset="0"/>
              <a:buChar char="»"/>
              <a:defRPr/>
            </a:lvl6pPr>
          </a:lstStyle>
          <a:p>
            <a:pPr lvl="0"/>
            <a:endParaRPr lang="en-CA"/>
          </a:p>
        </p:txBody>
      </p:sp>
      <p:sp>
        <p:nvSpPr>
          <p:cNvPr id="7" name="Slide Number Placeholder 5"/>
          <p:cNvSpPr>
            <a:spLocks noGrp="1"/>
          </p:cNvSpPr>
          <p:nvPr>
            <p:ph type="sldNum" sz="quarter" idx="4"/>
          </p:nvPr>
        </p:nvSpPr>
        <p:spPr>
          <a:xfrm>
            <a:off x="623392" y="6309324"/>
            <a:ext cx="2844800" cy="365125"/>
          </a:xfrm>
          <a:prstGeom prst="rect">
            <a:avLst/>
          </a:prstGeom>
        </p:spPr>
        <p:txBody>
          <a:bodyPr vert="horz" lIns="91440" tIns="45720" rIns="91440" bIns="45720" rtlCol="0" anchor="ctr"/>
          <a:lstStyle>
            <a:lvl1pPr algn="l">
              <a:defRPr sz="1067">
                <a:solidFill>
                  <a:schemeClr val="tx1">
                    <a:lumMod val="95000"/>
                    <a:lumOff val="5000"/>
                  </a:schemeClr>
                </a:solidFill>
              </a:defRPr>
            </a:lvl1pPr>
          </a:lstStyle>
          <a:p>
            <a:fld id="{B6362DDE-5EFE-4D6A-AD62-664744385D96}" type="slidenum">
              <a:rPr lang="en-CA" smtClean="0"/>
              <a:pPr/>
              <a:t>‹#›</a:t>
            </a:fld>
            <a:endParaRPr lang="en-CA"/>
          </a:p>
        </p:txBody>
      </p:sp>
      <p:sp>
        <p:nvSpPr>
          <p:cNvPr id="15" name="Title Placeholder 1">
            <a:extLst>
              <a:ext uri="{FF2B5EF4-FFF2-40B4-BE49-F238E27FC236}">
                <a16:creationId xmlns:a16="http://schemas.microsoft.com/office/drawing/2014/main" id="{180996E8-3DED-465D-0B68-B07F28F14F23}"/>
              </a:ext>
            </a:extLst>
          </p:cNvPr>
          <p:cNvSpPr>
            <a:spLocks noGrp="1"/>
          </p:cNvSpPr>
          <p:nvPr>
            <p:ph type="title"/>
          </p:nvPr>
        </p:nvSpPr>
        <p:spPr>
          <a:xfrm>
            <a:off x="927035" y="44624"/>
            <a:ext cx="10669157"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17113327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_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05467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_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10428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12/16/20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DD35DBF2-A8CF-448E-B167-C826703D0B69}" type="slidenum">
              <a:rPr lang="en-US" smtClean="0"/>
              <a:t>‹#›</a:t>
            </a:fld>
            <a:endParaRPr lang="en-US"/>
          </a:p>
        </p:txBody>
      </p:sp>
    </p:spTree>
    <p:extLst>
      <p:ext uri="{BB962C8B-B14F-4D97-AF65-F5344CB8AC3E}">
        <p14:creationId xmlns:p14="http://schemas.microsoft.com/office/powerpoint/2010/main" val="39785301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D916A-0142-4CBF-9FF3-87D46F07F942}"/>
              </a:ext>
            </a:extLst>
          </p:cNvPr>
          <p:cNvSpPr>
            <a:spLocks noGrp="1"/>
          </p:cNvSpPr>
          <p:nvPr>
            <p:ph type="title" hasCustomPrompt="1"/>
          </p:nvPr>
        </p:nvSpPr>
        <p:spPr>
          <a:xfrm>
            <a:off x="3194755" y="365125"/>
            <a:ext cx="8159044" cy="1325563"/>
          </a:xfrm>
        </p:spPr>
        <p:txBody>
          <a:bodyPr/>
          <a:lstStyle>
            <a:lvl1pPr>
              <a:defRPr b="0">
                <a:latin typeface="+mn-lt"/>
              </a:defRPr>
            </a:lvl1pPr>
          </a:lstStyle>
          <a:p>
            <a:r>
              <a:rPr lang="en-US"/>
              <a:t>Agenda</a:t>
            </a:r>
          </a:p>
        </p:txBody>
      </p:sp>
      <p:sp>
        <p:nvSpPr>
          <p:cNvPr id="3" name="Content Placeholder 2">
            <a:extLst>
              <a:ext uri="{FF2B5EF4-FFF2-40B4-BE49-F238E27FC236}">
                <a16:creationId xmlns:a16="http://schemas.microsoft.com/office/drawing/2014/main" id="{11D43BD9-CD0F-4161-8F28-DC56F8AF1F5B}"/>
              </a:ext>
            </a:extLst>
          </p:cNvPr>
          <p:cNvSpPr>
            <a:spLocks noGrp="1"/>
          </p:cNvSpPr>
          <p:nvPr>
            <p:ph idx="1"/>
          </p:nvPr>
        </p:nvSpPr>
        <p:spPr>
          <a:xfrm>
            <a:off x="3194755" y="1825625"/>
            <a:ext cx="8159044"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53C1BE9-6E15-4961-9218-55A6ACE94E7E}"/>
              </a:ext>
            </a:extLst>
          </p:cNvPr>
          <p:cNvSpPr>
            <a:spLocks noGrp="1"/>
          </p:cNvSpPr>
          <p:nvPr>
            <p:ph type="sldNum" sz="quarter" idx="12"/>
          </p:nvPr>
        </p:nvSpPr>
        <p:spPr/>
        <p:txBody>
          <a:bodyPr/>
          <a:lstStyle/>
          <a:p>
            <a:fld id="{28EB177B-4CD5-47EA-A348-D97FC37CDF05}" type="slidenum">
              <a:rPr lang="en-US" smtClean="0"/>
              <a:t>‹#›</a:t>
            </a:fld>
            <a:endParaRPr lang="en-US"/>
          </a:p>
        </p:txBody>
      </p:sp>
    </p:spTree>
    <p:extLst>
      <p:ext uri="{BB962C8B-B14F-4D97-AF65-F5344CB8AC3E}">
        <p14:creationId xmlns:p14="http://schemas.microsoft.com/office/powerpoint/2010/main" val="24314301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hart">
    <p:spTree>
      <p:nvGrpSpPr>
        <p:cNvPr id="1" name=""/>
        <p:cNvGrpSpPr/>
        <p:nvPr/>
      </p:nvGrpSpPr>
      <p:grpSpPr>
        <a:xfrm>
          <a:off x="0" y="0"/>
          <a:ext cx="0" cy="0"/>
          <a:chOff x="0" y="0"/>
          <a:chExt cx="0" cy="0"/>
        </a:xfrm>
      </p:grpSpPr>
      <p:sp>
        <p:nvSpPr>
          <p:cNvPr id="4" name="Chart Placeholder 3"/>
          <p:cNvSpPr>
            <a:spLocks noGrp="1"/>
          </p:cNvSpPr>
          <p:nvPr>
            <p:ph type="chart" sz="quarter" idx="10"/>
          </p:nvPr>
        </p:nvSpPr>
        <p:spPr>
          <a:xfrm>
            <a:off x="624087" y="1412776"/>
            <a:ext cx="11040533" cy="4320480"/>
          </a:xfrm>
        </p:spPr>
        <p:txBody>
          <a:bodyPr/>
          <a:lstStyle/>
          <a:p>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9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24995760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86372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 y="0"/>
            <a:ext cx="12191996" cy="6857998"/>
          </a:xfrm>
          <a:prstGeom prst="rect">
            <a:avLst/>
          </a:prstGeom>
        </p:spPr>
      </p:pic>
      <p:sp>
        <p:nvSpPr>
          <p:cNvPr id="8" name="Rectangle 7">
            <a:extLst>
              <a:ext uri="{FF2B5EF4-FFF2-40B4-BE49-F238E27FC236}">
                <a16:creationId xmlns:a16="http://schemas.microsoft.com/office/drawing/2014/main" id="{2EB658FC-EFA2-E324-2CC2-9C437059CBC9}"/>
              </a:ext>
            </a:extLst>
          </p:cNvPr>
          <p:cNvSpPr/>
          <p:nvPr userDrawn="1"/>
        </p:nvSpPr>
        <p:spPr>
          <a:xfrm>
            <a:off x="1134208" y="872817"/>
            <a:ext cx="5873261" cy="16920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blue text on a black background&#10;&#10;Description automatically generated">
            <a:extLst>
              <a:ext uri="{FF2B5EF4-FFF2-40B4-BE49-F238E27FC236}">
                <a16:creationId xmlns:a16="http://schemas.microsoft.com/office/drawing/2014/main" id="{405654F8-96D5-9EBD-BEF5-418F3F70E4E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11846" y="1314696"/>
            <a:ext cx="4319678" cy="1035295"/>
          </a:xfrm>
          <a:prstGeom prst="rect">
            <a:avLst/>
          </a:prstGeom>
        </p:spPr>
      </p:pic>
      <p:cxnSp>
        <p:nvCxnSpPr>
          <p:cNvPr id="6" name="Straight Connector 5">
            <a:extLst>
              <a:ext uri="{FF2B5EF4-FFF2-40B4-BE49-F238E27FC236}">
                <a16:creationId xmlns:a16="http://schemas.microsoft.com/office/drawing/2014/main" id="{6F5FB663-52EE-4738-BCF8-FEF18DFFDA70}"/>
              </a:ext>
            </a:extLst>
          </p:cNvPr>
          <p:cNvCxnSpPr>
            <a:cxnSpLocks/>
          </p:cNvCxnSpPr>
          <p:nvPr userDrawn="1"/>
        </p:nvCxnSpPr>
        <p:spPr>
          <a:xfrm>
            <a:off x="3456797" y="3295248"/>
            <a:ext cx="8735203" cy="0"/>
          </a:xfrm>
          <a:prstGeom prst="line">
            <a:avLst/>
          </a:prstGeom>
          <a:ln w="25400"/>
        </p:spPr>
        <p:style>
          <a:lnRef idx="1">
            <a:schemeClr val="accent2"/>
          </a:lnRef>
          <a:fillRef idx="0">
            <a:schemeClr val="accent2"/>
          </a:fillRef>
          <a:effectRef idx="0">
            <a:schemeClr val="accent2"/>
          </a:effectRef>
          <a:fontRef idx="minor">
            <a:schemeClr val="tx1"/>
          </a:fontRef>
        </p:style>
      </p:cxnSp>
      <p:sp>
        <p:nvSpPr>
          <p:cNvPr id="2" name="Title 1"/>
          <p:cNvSpPr>
            <a:spLocks noGrp="1"/>
          </p:cNvSpPr>
          <p:nvPr>
            <p:ph type="ctrTitle" hasCustomPrompt="1"/>
          </p:nvPr>
        </p:nvSpPr>
        <p:spPr>
          <a:xfrm>
            <a:off x="3407701" y="3429000"/>
            <a:ext cx="8160907" cy="936104"/>
          </a:xfrm>
        </p:spPr>
        <p:txBody>
          <a:bodyPr>
            <a:normAutofit/>
          </a:bodyPr>
          <a:lstStyle>
            <a:lvl1pPr algn="l">
              <a:defRPr sz="3600" baseline="0">
                <a:solidFill>
                  <a:schemeClr val="tx1"/>
                </a:solidFill>
              </a:defRPr>
            </a:lvl1pPr>
          </a:lstStyle>
          <a:p>
            <a:r>
              <a:rPr lang="en-US"/>
              <a:t>Presentation Title Goes </a:t>
            </a:r>
            <a:br>
              <a:rPr lang="en-US"/>
            </a:br>
            <a:r>
              <a:rPr lang="en-US"/>
              <a:t>Here</a:t>
            </a:r>
            <a:endParaRPr lang="en-CA"/>
          </a:p>
        </p:txBody>
      </p:sp>
      <p:sp>
        <p:nvSpPr>
          <p:cNvPr id="3" name="Subtitle 2"/>
          <p:cNvSpPr>
            <a:spLocks noGrp="1"/>
          </p:cNvSpPr>
          <p:nvPr>
            <p:ph type="subTitle" idx="1" hasCustomPrompt="1"/>
          </p:nvPr>
        </p:nvSpPr>
        <p:spPr>
          <a:xfrm>
            <a:off x="3407701" y="2780928"/>
            <a:ext cx="8160907" cy="432048"/>
          </a:xfrm>
        </p:spPr>
        <p:txBody>
          <a:bodyPr anchor="ctr">
            <a:normAutofit/>
          </a:bodyPr>
          <a:lstStyle>
            <a:lvl1pPr marL="0" indent="0" algn="l">
              <a:buNone/>
              <a:defRPr sz="2400" cap="all" baseline="0">
                <a:solidFill>
                  <a:srgbClr val="005FA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Date of presentation here</a:t>
            </a:r>
            <a:endParaRPr lang="en-CA"/>
          </a:p>
        </p:txBody>
      </p:sp>
      <p:sp>
        <p:nvSpPr>
          <p:cNvPr id="5" name="Rectangle 4"/>
          <p:cNvSpPr/>
          <p:nvPr userDrawn="1"/>
        </p:nvSpPr>
        <p:spPr>
          <a:xfrm>
            <a:off x="527381" y="-1096"/>
            <a:ext cx="384043"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Tree>
    <p:extLst>
      <p:ext uri="{BB962C8B-B14F-4D97-AF65-F5344CB8AC3E}">
        <p14:creationId xmlns:p14="http://schemas.microsoft.com/office/powerpoint/2010/main" val="9286881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52B4B01-D29A-49F1-A415-5050E16D56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7998"/>
          </a:xfrm>
          <a:prstGeom prst="rect">
            <a:avLst/>
          </a:prstGeom>
        </p:spPr>
      </p:pic>
      <p:cxnSp>
        <p:nvCxnSpPr>
          <p:cNvPr id="6" name="Straight Connector 5">
            <a:extLst>
              <a:ext uri="{FF2B5EF4-FFF2-40B4-BE49-F238E27FC236}">
                <a16:creationId xmlns:a16="http://schemas.microsoft.com/office/drawing/2014/main" id="{6F5FB663-52EE-4738-BCF8-FEF18DFFDA70}"/>
              </a:ext>
            </a:extLst>
          </p:cNvPr>
          <p:cNvCxnSpPr>
            <a:cxnSpLocks/>
          </p:cNvCxnSpPr>
          <p:nvPr userDrawn="1"/>
        </p:nvCxnSpPr>
        <p:spPr>
          <a:xfrm>
            <a:off x="3456797" y="3295248"/>
            <a:ext cx="8735203" cy="0"/>
          </a:xfrm>
          <a:prstGeom prst="line">
            <a:avLst/>
          </a:prstGeom>
          <a:ln w="25400"/>
        </p:spPr>
        <p:style>
          <a:lnRef idx="1">
            <a:schemeClr val="accent2"/>
          </a:lnRef>
          <a:fillRef idx="0">
            <a:schemeClr val="accent2"/>
          </a:fillRef>
          <a:effectRef idx="0">
            <a:schemeClr val="accent2"/>
          </a:effectRef>
          <a:fontRef idx="minor">
            <a:schemeClr val="tx1"/>
          </a:fontRef>
        </p:style>
      </p:cxnSp>
      <p:sp>
        <p:nvSpPr>
          <p:cNvPr id="2" name="Title 1"/>
          <p:cNvSpPr>
            <a:spLocks noGrp="1"/>
          </p:cNvSpPr>
          <p:nvPr>
            <p:ph type="ctrTitle" hasCustomPrompt="1"/>
          </p:nvPr>
        </p:nvSpPr>
        <p:spPr>
          <a:xfrm>
            <a:off x="3407701" y="3429000"/>
            <a:ext cx="8160907" cy="936104"/>
          </a:xfrm>
        </p:spPr>
        <p:txBody>
          <a:bodyPr>
            <a:normAutofit/>
          </a:bodyPr>
          <a:lstStyle>
            <a:lvl1pPr algn="l">
              <a:defRPr sz="3600" baseline="0">
                <a:solidFill>
                  <a:schemeClr val="tx1"/>
                </a:solidFill>
              </a:defRPr>
            </a:lvl1pPr>
          </a:lstStyle>
          <a:p>
            <a:r>
              <a:rPr lang="en-US"/>
              <a:t>Presentation Title Goes </a:t>
            </a:r>
            <a:br>
              <a:rPr lang="en-US"/>
            </a:br>
            <a:r>
              <a:rPr lang="en-US"/>
              <a:t>Here</a:t>
            </a:r>
            <a:endParaRPr lang="en-CA"/>
          </a:p>
        </p:txBody>
      </p:sp>
      <p:sp>
        <p:nvSpPr>
          <p:cNvPr id="3" name="Subtitle 2"/>
          <p:cNvSpPr>
            <a:spLocks noGrp="1"/>
          </p:cNvSpPr>
          <p:nvPr>
            <p:ph type="subTitle" idx="1" hasCustomPrompt="1"/>
          </p:nvPr>
        </p:nvSpPr>
        <p:spPr>
          <a:xfrm>
            <a:off x="3407701" y="2780928"/>
            <a:ext cx="8160907" cy="432048"/>
          </a:xfrm>
        </p:spPr>
        <p:txBody>
          <a:bodyPr anchor="ctr">
            <a:normAutofit/>
          </a:bodyPr>
          <a:lstStyle>
            <a:lvl1pPr marL="0" indent="0" algn="l">
              <a:buNone/>
              <a:defRPr sz="2400" cap="all" baseline="0">
                <a:solidFill>
                  <a:srgbClr val="005FA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Date of presentation here</a:t>
            </a:r>
            <a:endParaRPr lang="en-CA"/>
          </a:p>
        </p:txBody>
      </p:sp>
      <p:sp>
        <p:nvSpPr>
          <p:cNvPr id="5" name="Rectangle 4"/>
          <p:cNvSpPr/>
          <p:nvPr userDrawn="1"/>
        </p:nvSpPr>
        <p:spPr>
          <a:xfrm>
            <a:off x="527381" y="-1096"/>
            <a:ext cx="384043"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Tree>
    <p:extLst>
      <p:ext uri="{BB962C8B-B14F-4D97-AF65-F5344CB8AC3E}">
        <p14:creationId xmlns:p14="http://schemas.microsoft.com/office/powerpoint/2010/main" val="26220866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3392" y="1412776"/>
            <a:ext cx="10972800" cy="4536504"/>
          </a:xfrm>
        </p:spPr>
        <p:txBody>
          <a:bodyPr/>
          <a:lstStyle>
            <a:lvl1pPr marL="0" indent="0">
              <a:buClr>
                <a:schemeClr val="bg1"/>
              </a:buClr>
              <a:buFont typeface="Arial" pitchFamily="34" charset="0"/>
              <a:buChar char="•"/>
              <a:tabLst/>
              <a:defRPr lang="en-US" sz="3000" kern="1200" cap="none" baseline="0" dirty="0" smtClean="0">
                <a:solidFill>
                  <a:schemeClr val="tx1">
                    <a:lumMod val="95000"/>
                    <a:lumOff val="5000"/>
                  </a:schemeClr>
                </a:solidFill>
                <a:latin typeface="+mj-lt"/>
                <a:ea typeface="+mn-ea"/>
                <a:cs typeface="+mn-cs"/>
              </a:defRPr>
            </a:lvl1pPr>
            <a:lvl2pPr marL="450850" indent="-276225">
              <a:buClr>
                <a:srgbClr val="005FAA"/>
              </a:buClr>
              <a:buFont typeface="Wingdings" pitchFamily="2" charset="2"/>
              <a:buChar char="§"/>
              <a:tabLst/>
              <a:defRPr>
                <a:latin typeface="+mj-lt"/>
              </a:defRPr>
            </a:lvl2pPr>
            <a:lvl3pPr marL="801688" indent="-317500">
              <a:buClr>
                <a:srgbClr val="005FAA"/>
              </a:buClr>
              <a:buFont typeface="Arial" pitchFamily="34" charset="0"/>
              <a:buChar char="•"/>
              <a:defRPr sz="2400">
                <a:latin typeface="+mj-lt"/>
              </a:defRPr>
            </a:lvl3pPr>
            <a:lvl4pPr marL="1169988" indent="-241300">
              <a:buClr>
                <a:srgbClr val="005FAA"/>
              </a:buClr>
              <a:buFont typeface="Corbel" pitchFamily="34" charset="0"/>
              <a:buChar char="–"/>
              <a:defRPr sz="2000">
                <a:latin typeface="+mj-lt"/>
              </a:defRPr>
            </a:lvl4pPr>
            <a:lvl5pPr marL="1612900" indent="-228600">
              <a:buClr>
                <a:srgbClr val="005FAA"/>
              </a:buClr>
              <a:buFont typeface="Arial" pitchFamily="34" charset="0"/>
              <a:buChar char="»"/>
              <a:defRPr sz="1800">
                <a:latin typeface="+mj-lt"/>
              </a:defRPr>
            </a:lvl5pPr>
            <a:lvl6pPr marL="2057400" indent="-228600">
              <a:buClr>
                <a:schemeClr val="accent6"/>
              </a:buClr>
              <a:buFont typeface="Calibri" pitchFamily="34" charset="0"/>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lvl1pPr>
              <a:defRPr baseline="0">
                <a:latin typeface="Calibri" pitchFamily="34" charset="0"/>
              </a:defRPr>
            </a:lvl1pPr>
          </a:lstStyle>
          <a:p>
            <a:r>
              <a:rPr lang="en-US"/>
              <a:t>Click to edit Master title style</a:t>
            </a:r>
            <a:endParaRPr lang="en-CA"/>
          </a:p>
        </p:txBody>
      </p:sp>
    </p:spTree>
    <p:extLst>
      <p:ext uri="{BB962C8B-B14F-4D97-AF65-F5344CB8AC3E}">
        <p14:creationId xmlns:p14="http://schemas.microsoft.com/office/powerpoint/2010/main" val="21761992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Chart Placeholder 3"/>
          <p:cNvSpPr>
            <a:spLocks noGrp="1"/>
          </p:cNvSpPr>
          <p:nvPr>
            <p:ph type="chart" sz="quarter" idx="10"/>
          </p:nvPr>
        </p:nvSpPr>
        <p:spPr>
          <a:xfrm>
            <a:off x="624087" y="1412776"/>
            <a:ext cx="11040533" cy="4320480"/>
          </a:xfrm>
        </p:spPr>
        <p:txBody>
          <a:bodyPr/>
          <a:lstStyle/>
          <a:p>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41734296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Chart Placeholder 3"/>
          <p:cNvSpPr>
            <a:spLocks noGrp="1"/>
          </p:cNvSpPr>
          <p:nvPr>
            <p:ph type="chart" sz="quarter" idx="10"/>
          </p:nvPr>
        </p:nvSpPr>
        <p:spPr>
          <a:xfrm>
            <a:off x="624088" y="1412776"/>
            <a:ext cx="10972104" cy="4556224"/>
          </a:xfrm>
        </p:spPr>
        <p:txBody>
          <a:bodyPr/>
          <a:lstStyle/>
          <a:p>
            <a:endParaRPr lang="en-CA"/>
          </a:p>
        </p:txBody>
      </p:sp>
      <p:sp>
        <p:nvSpPr>
          <p:cNvPr id="7" name="Slide Number Placeholder 5"/>
          <p:cNvSpPr>
            <a:spLocks noGrp="1"/>
          </p:cNvSpPr>
          <p:nvPr>
            <p:ph type="sldNum" sz="quarter" idx="4"/>
          </p:nvPr>
        </p:nvSpPr>
        <p:spPr>
          <a:xfrm>
            <a:off x="623392" y="6309324"/>
            <a:ext cx="2844800" cy="365125"/>
          </a:xfrm>
          <a:prstGeom prst="rect">
            <a:avLst/>
          </a:prstGeom>
        </p:spPr>
        <p:txBody>
          <a:bodyPr vert="horz" lIns="91440" tIns="45720" rIns="91440" bIns="45720" rtlCol="0" anchor="ctr"/>
          <a:lstStyle>
            <a:lvl1pPr algn="l">
              <a:defRPr sz="1067">
                <a:solidFill>
                  <a:schemeClr val="tx1">
                    <a:lumMod val="95000"/>
                    <a:lumOff val="5000"/>
                  </a:schemeClr>
                </a:solidFill>
              </a:defRPr>
            </a:lvl1pPr>
          </a:lstStyle>
          <a:p>
            <a:fld id="{B6362DDE-5EFE-4D6A-AD62-664744385D96}" type="slidenum">
              <a:rPr lang="en-CA" smtClean="0"/>
              <a:pPr/>
              <a:t>‹#›</a:t>
            </a:fld>
            <a:endParaRPr lang="en-CA"/>
          </a:p>
        </p:txBody>
      </p:sp>
      <p:sp>
        <p:nvSpPr>
          <p:cNvPr id="21" name="Title Placeholder 1">
            <a:extLst>
              <a:ext uri="{FF2B5EF4-FFF2-40B4-BE49-F238E27FC236}">
                <a16:creationId xmlns:a16="http://schemas.microsoft.com/office/drawing/2014/main" id="{BC910B50-F0A7-6591-E4C4-F4618AADE7F2}"/>
              </a:ext>
            </a:extLst>
          </p:cNvPr>
          <p:cNvSpPr>
            <a:spLocks noGrp="1"/>
          </p:cNvSpPr>
          <p:nvPr>
            <p:ph type="title"/>
          </p:nvPr>
        </p:nvSpPr>
        <p:spPr>
          <a:xfrm>
            <a:off x="927035" y="44624"/>
            <a:ext cx="10669157"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14212865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lvl1pPr>
              <a:defRPr>
                <a:solidFill>
                  <a:schemeClr val="tx1">
                    <a:lumMod val="95000"/>
                    <a:lumOff val="5000"/>
                  </a:schemeClr>
                </a:solidFill>
              </a:defRPr>
            </a:lvl1pPr>
          </a:lstStyle>
          <a:p>
            <a:fld id="{B6362DDE-5EFE-4D6A-AD62-664744385D96}" type="slidenum">
              <a:rPr lang="en-CA" smtClean="0"/>
              <a:pPr/>
              <a:t>‹#›</a:t>
            </a:fld>
            <a:endParaRPr lang="en-CA"/>
          </a:p>
        </p:txBody>
      </p:sp>
      <p:sp>
        <p:nvSpPr>
          <p:cNvPr id="5" name="Table Placeholder 4"/>
          <p:cNvSpPr>
            <a:spLocks noGrp="1"/>
          </p:cNvSpPr>
          <p:nvPr>
            <p:ph type="tbl" sz="quarter" idx="11"/>
          </p:nvPr>
        </p:nvSpPr>
        <p:spPr>
          <a:xfrm>
            <a:off x="624419" y="1412776"/>
            <a:ext cx="11040533" cy="3960440"/>
          </a:xfrm>
        </p:spPr>
        <p:txBody>
          <a:bodyPr/>
          <a:lstStyle/>
          <a:p>
            <a:endParaRPr lang="en-CA"/>
          </a:p>
        </p:txBody>
      </p:sp>
    </p:spTree>
    <p:extLst>
      <p:ext uri="{BB962C8B-B14F-4D97-AF65-F5344CB8AC3E}">
        <p14:creationId xmlns:p14="http://schemas.microsoft.com/office/powerpoint/2010/main" val="29351028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SP 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p>
            <a:fld id="{B6362DDE-5EFE-4D6A-AD62-664744385D96}" type="slidenum">
              <a:rPr lang="en-CA" smtClean="0"/>
              <a:pPr/>
              <a:t>‹#›</a:t>
            </a:fld>
            <a:endParaRPr lang="en-CA"/>
          </a:p>
        </p:txBody>
      </p:sp>
      <p:sp>
        <p:nvSpPr>
          <p:cNvPr id="6" name="Picture Placeholder 5"/>
          <p:cNvSpPr>
            <a:spLocks noGrp="1"/>
          </p:cNvSpPr>
          <p:nvPr>
            <p:ph type="pic" sz="quarter" idx="11"/>
          </p:nvPr>
        </p:nvSpPr>
        <p:spPr>
          <a:xfrm>
            <a:off x="6864085" y="1413322"/>
            <a:ext cx="4608248" cy="4392488"/>
          </a:xfrm>
          <a:noFill/>
          <a:ln>
            <a:solidFill>
              <a:srgbClr val="005FAA"/>
            </a:solidFill>
          </a:ln>
        </p:spPr>
        <p:txBody>
          <a:bodyPr/>
          <a:lstStyle>
            <a:lvl1pPr marL="87313" indent="-87313">
              <a:defRPr/>
            </a:lvl1pPr>
          </a:lstStyle>
          <a:p>
            <a:r>
              <a:rPr lang="en-US"/>
              <a:t>Click icon to add picture</a:t>
            </a:r>
            <a:endParaRPr lang="en-CA"/>
          </a:p>
        </p:txBody>
      </p:sp>
      <p:sp>
        <p:nvSpPr>
          <p:cNvPr id="8" name="Text Placeholder 7"/>
          <p:cNvSpPr>
            <a:spLocks noGrp="1"/>
          </p:cNvSpPr>
          <p:nvPr>
            <p:ph type="body" sz="quarter" idx="12" hasCustomPrompt="1"/>
          </p:nvPr>
        </p:nvSpPr>
        <p:spPr>
          <a:xfrm>
            <a:off x="623392" y="1412776"/>
            <a:ext cx="5472608" cy="4392488"/>
          </a:xfrm>
        </p:spPr>
        <p:txBody>
          <a:bodyPr/>
          <a:lstStyle>
            <a:lvl1pPr marL="0" indent="0">
              <a:buFont typeface="Arial" pitchFamily="34" charset="0"/>
              <a:buNone/>
              <a:tabLst/>
              <a:defRPr sz="3000" cap="none" baseline="0">
                <a:solidFill>
                  <a:schemeClr val="tx1">
                    <a:lumMod val="95000"/>
                    <a:lumOff val="5000"/>
                  </a:schemeClr>
                </a:solidFill>
              </a:defRPr>
            </a:lvl1pPr>
            <a:lvl2pPr marL="450850" indent="-276225">
              <a:buClr>
                <a:srgbClr val="005FAA"/>
              </a:buClr>
              <a:buFont typeface="Wingdings" pitchFamily="2" charset="2"/>
              <a:buChar char="§"/>
              <a:defRPr sz="2400"/>
            </a:lvl2pPr>
            <a:lvl3pPr marL="714375" indent="-176213">
              <a:buClr>
                <a:srgbClr val="005FAA"/>
              </a:buClr>
              <a:buFont typeface="Arial" pitchFamily="34" charset="0"/>
              <a:buChar char="•"/>
              <a:defRPr sz="2000"/>
            </a:lvl3pPr>
            <a:lvl4pPr>
              <a:buClr>
                <a:srgbClr val="005FAA"/>
              </a:buClr>
              <a:defRPr sz="1800"/>
            </a:lvl4pPr>
            <a:lvl5pPr>
              <a:buClr>
                <a:srgbClr val="005FAA"/>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US"/>
          </a:p>
        </p:txBody>
      </p:sp>
    </p:spTree>
    <p:extLst>
      <p:ext uri="{BB962C8B-B14F-4D97-AF65-F5344CB8AC3E}">
        <p14:creationId xmlns:p14="http://schemas.microsoft.com/office/powerpoint/2010/main" val="31331212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p>
            <a:fld id="{B6362DDE-5EFE-4D6A-AD62-664744385D96}" type="slidenum">
              <a:rPr lang="en-CA" smtClean="0"/>
              <a:pPr/>
              <a:t>‹#›</a:t>
            </a:fld>
            <a:endParaRPr lang="en-CA"/>
          </a:p>
        </p:txBody>
      </p:sp>
      <p:sp>
        <p:nvSpPr>
          <p:cNvPr id="7" name="Text Placeholder 6"/>
          <p:cNvSpPr>
            <a:spLocks noGrp="1"/>
          </p:cNvSpPr>
          <p:nvPr>
            <p:ph type="body" sz="quarter" idx="11" hasCustomPrompt="1"/>
          </p:nvPr>
        </p:nvSpPr>
        <p:spPr>
          <a:xfrm>
            <a:off x="624419" y="1412776"/>
            <a:ext cx="11040533" cy="4320480"/>
          </a:xfrm>
        </p:spPr>
        <p:txBody>
          <a:bodyPr/>
          <a:lstStyle>
            <a:lvl1pPr>
              <a:defRPr sz="3000" cap="none" baseline="0">
                <a:solidFill>
                  <a:schemeClr val="bg1">
                    <a:lumMod val="50000"/>
                  </a:schemeClr>
                </a:solidFill>
              </a:defRPr>
            </a:lvl1pPr>
            <a:lvl2pPr marL="450850" indent="-263525">
              <a:buClr>
                <a:srgbClr val="005FAA"/>
              </a:buClr>
              <a:buFont typeface="Wingdings" pitchFamily="2" charset="2"/>
              <a:buChar char="§"/>
              <a:defRPr sz="2800" baseline="0">
                <a:solidFill>
                  <a:schemeClr val="tx1"/>
                </a:solidFill>
              </a:defRPr>
            </a:lvl2pPr>
            <a:lvl3pPr marL="717550" indent="-228600">
              <a:buFont typeface="Arial" pitchFamily="34" charset="0"/>
              <a:buChar char="•"/>
              <a:defRPr sz="2400" baseline="0">
                <a:solidFill>
                  <a:schemeClr val="tx1"/>
                </a:solidFill>
              </a:defRPr>
            </a:lvl3pPr>
            <a:lvl4pPr>
              <a:buFont typeface="Corbel" pitchFamily="34" charset="0"/>
              <a:buChar char="–"/>
              <a:defRPr lang="en-US" sz="2000" baseline="0" dirty="0" smtClean="0">
                <a:solidFill>
                  <a:schemeClr val="tx1"/>
                </a:solidFill>
              </a:defRPr>
            </a:lvl4pPr>
            <a:lvl5pPr>
              <a:buFont typeface="Arial" pitchFamily="34" charset="0"/>
              <a:buChar char="»"/>
              <a:defRPr sz="160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Tree>
    <p:extLst>
      <p:ext uri="{BB962C8B-B14F-4D97-AF65-F5344CB8AC3E}">
        <p14:creationId xmlns:p14="http://schemas.microsoft.com/office/powerpoint/2010/main" val="8288789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5" name="Slide Number Placeholder 4"/>
          <p:cNvSpPr>
            <a:spLocks noGrp="1"/>
          </p:cNvSpPr>
          <p:nvPr>
            <p:ph type="sldNum" sz="quarter" idx="12"/>
          </p:nvPr>
        </p:nvSpPr>
        <p:spPr/>
        <p:txBody>
          <a:bodyPr/>
          <a:lstStyle/>
          <a:p>
            <a:fld id="{316606D5-A87C-4FD8-864B-AE5EA5CA2F96}" type="slidenum">
              <a:rPr lang="en-CA" smtClean="0"/>
              <a:pPr/>
              <a:t>‹#›</a:t>
            </a:fld>
            <a:endParaRPr lang="en-CA"/>
          </a:p>
        </p:txBody>
      </p:sp>
      <p:sp>
        <p:nvSpPr>
          <p:cNvPr id="7" name="Table Placeholder 6"/>
          <p:cNvSpPr>
            <a:spLocks noGrp="1"/>
          </p:cNvSpPr>
          <p:nvPr>
            <p:ph type="tbl" sz="quarter" idx="13"/>
          </p:nvPr>
        </p:nvSpPr>
        <p:spPr>
          <a:xfrm>
            <a:off x="623393" y="1412776"/>
            <a:ext cx="10752667" cy="4032448"/>
          </a:xfrm>
        </p:spPr>
        <p:txBody>
          <a:bodyPr/>
          <a:lstStyle/>
          <a:p>
            <a:endParaRPr lang="en-CA"/>
          </a:p>
        </p:txBody>
      </p:sp>
    </p:spTree>
    <p:extLst>
      <p:ext uri="{BB962C8B-B14F-4D97-AF65-F5344CB8AC3E}">
        <p14:creationId xmlns:p14="http://schemas.microsoft.com/office/powerpoint/2010/main" val="3750376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3392" y="1412776"/>
            <a:ext cx="10972800" cy="4536504"/>
          </a:xfrm>
        </p:spPr>
        <p:txBody>
          <a:bodyPr/>
          <a:lstStyle>
            <a:lvl1pPr marL="0" indent="0">
              <a:buClr>
                <a:schemeClr val="bg1"/>
              </a:buClr>
              <a:buFont typeface="Arial" pitchFamily="34" charset="0"/>
              <a:buChar char="•"/>
              <a:tabLst/>
              <a:defRPr lang="en-US" sz="3000" kern="1200" cap="none" baseline="0" dirty="0" smtClean="0">
                <a:solidFill>
                  <a:schemeClr val="tx1">
                    <a:lumMod val="95000"/>
                    <a:lumOff val="5000"/>
                  </a:schemeClr>
                </a:solidFill>
                <a:latin typeface="+mj-lt"/>
                <a:ea typeface="+mn-ea"/>
                <a:cs typeface="+mn-cs"/>
              </a:defRPr>
            </a:lvl1pPr>
            <a:lvl2pPr marL="450850" indent="-276225">
              <a:buClr>
                <a:srgbClr val="005FAA"/>
              </a:buClr>
              <a:buFont typeface="Wingdings" pitchFamily="2" charset="2"/>
              <a:buChar char="§"/>
              <a:tabLst/>
              <a:defRPr>
                <a:latin typeface="+mj-lt"/>
              </a:defRPr>
            </a:lvl2pPr>
            <a:lvl3pPr marL="801688" indent="-317500">
              <a:buClr>
                <a:srgbClr val="005FAA"/>
              </a:buClr>
              <a:buFont typeface="Arial" pitchFamily="34" charset="0"/>
              <a:buChar char="•"/>
              <a:defRPr sz="2400">
                <a:latin typeface="+mj-lt"/>
              </a:defRPr>
            </a:lvl3pPr>
            <a:lvl4pPr marL="1169988" indent="-241300">
              <a:buClr>
                <a:srgbClr val="005FAA"/>
              </a:buClr>
              <a:buFont typeface="Corbel" pitchFamily="34" charset="0"/>
              <a:buChar char="–"/>
              <a:defRPr sz="2000">
                <a:latin typeface="+mj-lt"/>
              </a:defRPr>
            </a:lvl4pPr>
            <a:lvl5pPr marL="1612900" indent="-228600">
              <a:buClr>
                <a:srgbClr val="005FAA"/>
              </a:buClr>
              <a:buFont typeface="Arial" pitchFamily="34" charset="0"/>
              <a:buChar char="»"/>
              <a:defRPr sz="1800">
                <a:latin typeface="+mj-lt"/>
              </a:defRPr>
            </a:lvl5pPr>
            <a:lvl6pPr marL="2057400" indent="-228600">
              <a:buClr>
                <a:schemeClr val="accent6"/>
              </a:buClr>
              <a:buFont typeface="Calibri" pitchFamily="34" charset="0"/>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623392" y="44624"/>
            <a:ext cx="10959008" cy="980728"/>
          </a:xfrm>
          <a:prstGeom prst="rect">
            <a:avLst/>
          </a:prstGeom>
        </p:spPr>
        <p:txBody>
          <a:bodyPr vert="horz" lIns="91440" tIns="45720" rIns="91440" bIns="45720" rtlCol="0" anchor="ctr">
            <a:normAutofit/>
          </a:bodyPr>
          <a:lstStyle>
            <a:lvl1pPr>
              <a:defRPr baseline="0">
                <a:latin typeface="Calibri" pitchFamily="34" charset="0"/>
              </a:defRPr>
            </a:lvl1pPr>
          </a:lstStyle>
          <a:p>
            <a:r>
              <a:rPr lang="en-US"/>
              <a:t>Click to edit Master title style</a:t>
            </a:r>
            <a:endParaRPr lang="en-CA"/>
          </a:p>
        </p:txBody>
      </p:sp>
    </p:spTree>
    <p:extLst>
      <p:ext uri="{BB962C8B-B14F-4D97-AF65-F5344CB8AC3E}">
        <p14:creationId xmlns:p14="http://schemas.microsoft.com/office/powerpoint/2010/main" val="12795570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_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1350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_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6104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lvl1pPr>
              <a:defRPr>
                <a:solidFill>
                  <a:schemeClr val="tx1">
                    <a:lumMod val="95000"/>
                    <a:lumOff val="5000"/>
                  </a:schemeClr>
                </a:solidFill>
              </a:defRPr>
            </a:lvl1pPr>
          </a:lstStyle>
          <a:p>
            <a:fld id="{B6362DDE-5EFE-4D6A-AD62-664744385D96}" type="slidenum">
              <a:rPr lang="en-CA" smtClean="0"/>
              <a:pPr/>
              <a:t>‹#›</a:t>
            </a:fld>
            <a:endParaRPr lang="en-CA"/>
          </a:p>
        </p:txBody>
      </p:sp>
      <p:sp>
        <p:nvSpPr>
          <p:cNvPr id="5" name="Table Placeholder 4"/>
          <p:cNvSpPr>
            <a:spLocks noGrp="1"/>
          </p:cNvSpPr>
          <p:nvPr>
            <p:ph type="tbl" sz="quarter" idx="11"/>
          </p:nvPr>
        </p:nvSpPr>
        <p:spPr>
          <a:xfrm>
            <a:off x="624419" y="1412776"/>
            <a:ext cx="11040533" cy="3960440"/>
          </a:xfrm>
        </p:spPr>
        <p:txBody>
          <a:bodyPr/>
          <a:lstStyle/>
          <a:p>
            <a:endParaRPr lang="en-CA"/>
          </a:p>
        </p:txBody>
      </p:sp>
    </p:spTree>
    <p:extLst>
      <p:ext uri="{BB962C8B-B14F-4D97-AF65-F5344CB8AC3E}">
        <p14:creationId xmlns:p14="http://schemas.microsoft.com/office/powerpoint/2010/main" val="2448613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4" name="Chart Placeholder 3"/>
          <p:cNvSpPr>
            <a:spLocks noGrp="1"/>
          </p:cNvSpPr>
          <p:nvPr>
            <p:ph type="chart" sz="quarter" idx="10"/>
          </p:nvPr>
        </p:nvSpPr>
        <p:spPr>
          <a:xfrm>
            <a:off x="624087" y="1412776"/>
            <a:ext cx="11040533" cy="4320480"/>
          </a:xfrm>
        </p:spPr>
        <p:txBody>
          <a:bodyPr/>
          <a:lstStyle/>
          <a:p>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27281218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pSp>
        <p:nvGrpSpPr>
          <p:cNvPr id="108" name="Group 107">
            <a:extLst>
              <a:ext uri="{FF2B5EF4-FFF2-40B4-BE49-F238E27FC236}">
                <a16:creationId xmlns:a16="http://schemas.microsoft.com/office/drawing/2014/main" id="{31445678-5922-0D9E-6854-34CDDF535B9A}"/>
              </a:ext>
              <a:ext uri="{C183D7F6-B498-43B3-948B-1728B52AA6E4}">
                <adec:decorative xmlns:adec="http://schemas.microsoft.com/office/drawing/2017/decorative" xmlns="" val="1"/>
              </a:ext>
            </a:extLst>
          </p:cNvPr>
          <p:cNvGrpSpPr/>
          <p:nvPr userDrawn="1"/>
        </p:nvGrpSpPr>
        <p:grpSpPr>
          <a:xfrm>
            <a:off x="6350" y="1460413"/>
            <a:ext cx="12185650" cy="5364163"/>
            <a:chOff x="6350" y="1460413"/>
            <a:chExt cx="12185650" cy="5364163"/>
          </a:xfrm>
        </p:grpSpPr>
        <p:pic>
          <p:nvPicPr>
            <p:cNvPr id="55" name="Picture 54">
              <a:extLst>
                <a:ext uri="{FF2B5EF4-FFF2-40B4-BE49-F238E27FC236}">
                  <a16:creationId xmlns:a16="http://schemas.microsoft.com/office/drawing/2014/main" id="{EFBB3930-65BE-C67D-75F8-C29BCAC0BCF7}"/>
                </a:ext>
              </a:extLst>
            </p:cNvPr>
            <p:cNvPicPr>
              <a:picLocks noChangeAspect="1"/>
            </p:cNvPicPr>
            <p:nvPr userDrawn="1"/>
          </p:nvPicPr>
          <p:blipFill>
            <a:blip r:embed="rId2"/>
            <a:stretch>
              <a:fillRect/>
            </a:stretch>
          </p:blipFill>
          <p:spPr>
            <a:xfrm>
              <a:off x="6350" y="1460413"/>
              <a:ext cx="12185650" cy="4523556"/>
            </a:xfrm>
            <a:prstGeom prst="rect">
              <a:avLst/>
            </a:prstGeom>
          </p:spPr>
        </p:pic>
        <p:pic>
          <p:nvPicPr>
            <p:cNvPr id="20" name="Picture 19">
              <a:extLst>
                <a:ext uri="{FF2B5EF4-FFF2-40B4-BE49-F238E27FC236}">
                  <a16:creationId xmlns:a16="http://schemas.microsoft.com/office/drawing/2014/main" id="{266A9694-6EC0-EF34-47E7-7D6882C86446}"/>
                </a:ext>
              </a:extLst>
            </p:cNvPr>
            <p:cNvPicPr>
              <a:picLocks noChangeAspect="1"/>
            </p:cNvPicPr>
            <p:nvPr userDrawn="1"/>
          </p:nvPicPr>
          <p:blipFill rotWithShape="1">
            <a:blip r:embed="rId3"/>
            <a:srcRect r="2854"/>
            <a:stretch/>
          </p:blipFill>
          <p:spPr>
            <a:xfrm>
              <a:off x="1385366" y="1933400"/>
              <a:ext cx="10800284" cy="4891176"/>
            </a:xfrm>
            <a:prstGeom prst="rect">
              <a:avLst/>
            </a:prstGeom>
          </p:spPr>
        </p:pic>
      </p:grpSp>
      <p:sp>
        <p:nvSpPr>
          <p:cNvPr id="2" name="Title 1">
            <a:extLst>
              <a:ext uri="{FF2B5EF4-FFF2-40B4-BE49-F238E27FC236}">
                <a16:creationId xmlns:a16="http://schemas.microsoft.com/office/drawing/2014/main" id="{F7286A7E-ECC6-8B64-7478-CBE43FBDAAAA}"/>
              </a:ext>
              <a:ext uri="{C183D7F6-B498-43B3-948B-1728B52AA6E4}">
                <adec:decorative xmlns:adec="http://schemas.microsoft.com/office/drawing/2017/decorative" xmlns="" val="0"/>
              </a:ext>
            </a:extLst>
          </p:cNvPr>
          <p:cNvSpPr>
            <a:spLocks noGrp="1"/>
          </p:cNvSpPr>
          <p:nvPr userDrawn="1">
            <p:ph type="title" hasCustomPrompt="1"/>
          </p:nvPr>
        </p:nvSpPr>
        <p:spPr>
          <a:xfrm>
            <a:off x="838200" y="311861"/>
            <a:ext cx="10515600" cy="958251"/>
          </a:xfrm>
        </p:spPr>
        <p:txBody>
          <a:bodyPr>
            <a:normAutofit/>
          </a:bodyPr>
          <a:lstStyle>
            <a:lvl1pPr algn="ctr">
              <a:defRPr sz="6000" b="1" cap="all" baseline="0"/>
            </a:lvl1pPr>
          </a:lstStyle>
          <a:p>
            <a:r>
              <a:rPr lang="en-US" noProof="0"/>
              <a:t>Add title here</a:t>
            </a:r>
          </a:p>
        </p:txBody>
      </p:sp>
      <p:sp>
        <p:nvSpPr>
          <p:cNvPr id="5" name="Text Placeholder 5">
            <a:extLst>
              <a:ext uri="{FF2B5EF4-FFF2-40B4-BE49-F238E27FC236}">
                <a16:creationId xmlns:a16="http://schemas.microsoft.com/office/drawing/2014/main" id="{6C5FDC83-F05F-E2CC-B26D-0B062CC49973}"/>
              </a:ext>
            </a:extLst>
          </p:cNvPr>
          <p:cNvSpPr>
            <a:spLocks noGrp="1"/>
          </p:cNvSpPr>
          <p:nvPr>
            <p:ph type="body" sz="quarter" idx="51" hasCustomPrompt="1"/>
          </p:nvPr>
        </p:nvSpPr>
        <p:spPr>
          <a:xfrm>
            <a:off x="679175" y="3754892"/>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2" name="Text Placeholder 97">
            <a:extLst>
              <a:ext uri="{FF2B5EF4-FFF2-40B4-BE49-F238E27FC236}">
                <a16:creationId xmlns:a16="http://schemas.microsoft.com/office/drawing/2014/main" id="{9A27C53F-0D89-34D4-E4E8-175EBF1A1B73}"/>
              </a:ext>
            </a:extLst>
          </p:cNvPr>
          <p:cNvSpPr>
            <a:spLocks noGrp="1"/>
          </p:cNvSpPr>
          <p:nvPr userDrawn="1">
            <p:ph type="body" sz="quarter" idx="37" hasCustomPrompt="1"/>
          </p:nvPr>
        </p:nvSpPr>
        <p:spPr>
          <a:xfrm>
            <a:off x="390035" y="3477320"/>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86" name="Text Placeholder 61">
            <a:extLst>
              <a:ext uri="{FF2B5EF4-FFF2-40B4-BE49-F238E27FC236}">
                <a16:creationId xmlns:a16="http://schemas.microsoft.com/office/drawing/2014/main" id="{D33323FB-3657-DBF3-C660-8E53E914CD76}"/>
              </a:ext>
            </a:extLst>
          </p:cNvPr>
          <p:cNvSpPr>
            <a:spLocks noGrp="1"/>
          </p:cNvSpPr>
          <p:nvPr userDrawn="1">
            <p:ph type="body" sz="quarter" idx="23" hasCustomPrompt="1"/>
          </p:nvPr>
        </p:nvSpPr>
        <p:spPr>
          <a:xfrm>
            <a:off x="847719" y="4379822"/>
            <a:ext cx="1280160"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87" name="Text Placeholder 63">
            <a:extLst>
              <a:ext uri="{FF2B5EF4-FFF2-40B4-BE49-F238E27FC236}">
                <a16:creationId xmlns:a16="http://schemas.microsoft.com/office/drawing/2014/main" id="{EFB7B0D0-66A4-7017-E2C8-BFD66BD3AE13}"/>
              </a:ext>
            </a:extLst>
          </p:cNvPr>
          <p:cNvSpPr>
            <a:spLocks noGrp="1"/>
          </p:cNvSpPr>
          <p:nvPr userDrawn="1">
            <p:ph type="body" sz="quarter" idx="24" hasCustomPrompt="1"/>
          </p:nvPr>
        </p:nvSpPr>
        <p:spPr>
          <a:xfrm>
            <a:off x="847719" y="4867503"/>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6" name="Text Placeholder 5">
            <a:extLst>
              <a:ext uri="{FF2B5EF4-FFF2-40B4-BE49-F238E27FC236}">
                <a16:creationId xmlns:a16="http://schemas.microsoft.com/office/drawing/2014/main" id="{4642DFC3-40E7-73B0-2933-4E601A023BFC}"/>
              </a:ext>
            </a:extLst>
          </p:cNvPr>
          <p:cNvSpPr>
            <a:spLocks noGrp="1"/>
          </p:cNvSpPr>
          <p:nvPr userDrawn="1">
            <p:ph type="body" sz="quarter" idx="43" hasCustomPrompt="1"/>
          </p:nvPr>
        </p:nvSpPr>
        <p:spPr>
          <a:xfrm>
            <a:off x="1986839" y="1689617"/>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62" name="Text Placeholder 61">
            <a:extLst>
              <a:ext uri="{FF2B5EF4-FFF2-40B4-BE49-F238E27FC236}">
                <a16:creationId xmlns:a16="http://schemas.microsoft.com/office/drawing/2014/main" id="{ACF76DF4-511E-BCAD-24AA-1917D1893186}"/>
              </a:ext>
            </a:extLst>
          </p:cNvPr>
          <p:cNvSpPr>
            <a:spLocks noGrp="1"/>
          </p:cNvSpPr>
          <p:nvPr userDrawn="1">
            <p:ph type="body" sz="quarter" idx="11" hasCustomPrompt="1"/>
          </p:nvPr>
        </p:nvSpPr>
        <p:spPr>
          <a:xfrm>
            <a:off x="2156264" y="2304732"/>
            <a:ext cx="1280160"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64" name="Text Placeholder 63">
            <a:extLst>
              <a:ext uri="{FF2B5EF4-FFF2-40B4-BE49-F238E27FC236}">
                <a16:creationId xmlns:a16="http://schemas.microsoft.com/office/drawing/2014/main" id="{0844B068-8969-6321-4DD3-4767642367E2}"/>
              </a:ext>
            </a:extLst>
          </p:cNvPr>
          <p:cNvSpPr>
            <a:spLocks noGrp="1"/>
          </p:cNvSpPr>
          <p:nvPr userDrawn="1">
            <p:ph type="body" sz="quarter" idx="12" hasCustomPrompt="1"/>
          </p:nvPr>
        </p:nvSpPr>
        <p:spPr>
          <a:xfrm>
            <a:off x="2156264" y="2792413"/>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99" name="Text Placeholder 97">
            <a:extLst>
              <a:ext uri="{FF2B5EF4-FFF2-40B4-BE49-F238E27FC236}">
                <a16:creationId xmlns:a16="http://schemas.microsoft.com/office/drawing/2014/main" id="{DB29BEEB-8FD5-5346-B82F-8EAB6A747A29}"/>
              </a:ext>
            </a:extLst>
          </p:cNvPr>
          <p:cNvSpPr>
            <a:spLocks noGrp="1"/>
          </p:cNvSpPr>
          <p:nvPr userDrawn="1">
            <p:ph type="body" sz="quarter" idx="35" hasCustomPrompt="1"/>
          </p:nvPr>
        </p:nvSpPr>
        <p:spPr>
          <a:xfrm>
            <a:off x="3280120" y="2964580"/>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66" name="Text Placeholder 5">
            <a:extLst>
              <a:ext uri="{FF2B5EF4-FFF2-40B4-BE49-F238E27FC236}">
                <a16:creationId xmlns:a16="http://schemas.microsoft.com/office/drawing/2014/main" id="{85454582-ABBD-4964-8715-1EF2DFC1686A}"/>
              </a:ext>
            </a:extLst>
          </p:cNvPr>
          <p:cNvSpPr>
            <a:spLocks noGrp="1"/>
          </p:cNvSpPr>
          <p:nvPr>
            <p:ph type="body" sz="quarter" idx="57" hasCustomPrompt="1"/>
          </p:nvPr>
        </p:nvSpPr>
        <p:spPr>
          <a:xfrm>
            <a:off x="4159315" y="2413336"/>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0" name="Text Placeholder 97">
            <a:extLst>
              <a:ext uri="{FF2B5EF4-FFF2-40B4-BE49-F238E27FC236}">
                <a16:creationId xmlns:a16="http://schemas.microsoft.com/office/drawing/2014/main" id="{28877613-41C4-9119-BE28-5CAB258BF276}"/>
              </a:ext>
            </a:extLst>
          </p:cNvPr>
          <p:cNvSpPr>
            <a:spLocks noGrp="1"/>
          </p:cNvSpPr>
          <p:nvPr userDrawn="1">
            <p:ph type="body" sz="quarter" idx="36" hasCustomPrompt="1"/>
          </p:nvPr>
        </p:nvSpPr>
        <p:spPr>
          <a:xfrm>
            <a:off x="5450164" y="2104356"/>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69" name="Text Placeholder 61">
            <a:extLst>
              <a:ext uri="{FF2B5EF4-FFF2-40B4-BE49-F238E27FC236}">
                <a16:creationId xmlns:a16="http://schemas.microsoft.com/office/drawing/2014/main" id="{294539E2-59EE-DB6B-BA2A-518DE97D114B}"/>
              </a:ext>
            </a:extLst>
          </p:cNvPr>
          <p:cNvSpPr>
            <a:spLocks noGrp="1"/>
          </p:cNvSpPr>
          <p:nvPr userDrawn="1">
            <p:ph type="body" sz="quarter" idx="14" hasCustomPrompt="1"/>
          </p:nvPr>
        </p:nvSpPr>
        <p:spPr>
          <a:xfrm>
            <a:off x="4337915" y="3081612"/>
            <a:ext cx="1277962" cy="475432"/>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70" name="Text Placeholder 63">
            <a:extLst>
              <a:ext uri="{FF2B5EF4-FFF2-40B4-BE49-F238E27FC236}">
                <a16:creationId xmlns:a16="http://schemas.microsoft.com/office/drawing/2014/main" id="{26761B70-9720-A91A-9DE8-C71BB40499A4}"/>
              </a:ext>
            </a:extLst>
          </p:cNvPr>
          <p:cNvSpPr>
            <a:spLocks noGrp="1"/>
          </p:cNvSpPr>
          <p:nvPr userDrawn="1">
            <p:ph type="body" sz="quarter" idx="15" hasCustomPrompt="1"/>
          </p:nvPr>
        </p:nvSpPr>
        <p:spPr>
          <a:xfrm>
            <a:off x="4337915" y="3554052"/>
            <a:ext cx="1277962"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56" name="Text Placeholder 5">
            <a:extLst>
              <a:ext uri="{FF2B5EF4-FFF2-40B4-BE49-F238E27FC236}">
                <a16:creationId xmlns:a16="http://schemas.microsoft.com/office/drawing/2014/main" id="{FCE8B2AA-C2E9-5F8D-0EF1-A36A1966D279}"/>
              </a:ext>
            </a:extLst>
          </p:cNvPr>
          <p:cNvSpPr>
            <a:spLocks noGrp="1"/>
          </p:cNvSpPr>
          <p:nvPr>
            <p:ph type="body" sz="quarter" idx="52" hasCustomPrompt="1"/>
          </p:nvPr>
        </p:nvSpPr>
        <p:spPr>
          <a:xfrm>
            <a:off x="2772029" y="4868331"/>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3" name="Text Placeholder 97">
            <a:extLst>
              <a:ext uri="{FF2B5EF4-FFF2-40B4-BE49-F238E27FC236}">
                <a16:creationId xmlns:a16="http://schemas.microsoft.com/office/drawing/2014/main" id="{616D4056-5F98-5D42-8A8D-08560626E145}"/>
              </a:ext>
            </a:extLst>
          </p:cNvPr>
          <p:cNvSpPr>
            <a:spLocks noGrp="1"/>
          </p:cNvSpPr>
          <p:nvPr userDrawn="1">
            <p:ph type="body" sz="quarter" idx="38" hasCustomPrompt="1"/>
          </p:nvPr>
        </p:nvSpPr>
        <p:spPr>
          <a:xfrm>
            <a:off x="4070799" y="4546839"/>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89" name="Text Placeholder 61">
            <a:extLst>
              <a:ext uri="{FF2B5EF4-FFF2-40B4-BE49-F238E27FC236}">
                <a16:creationId xmlns:a16="http://schemas.microsoft.com/office/drawing/2014/main" id="{4F02E3FC-A398-A3E3-0ECA-A8A1C61ED4DA}"/>
              </a:ext>
            </a:extLst>
          </p:cNvPr>
          <p:cNvSpPr>
            <a:spLocks noGrp="1"/>
          </p:cNvSpPr>
          <p:nvPr userDrawn="1">
            <p:ph type="body" sz="quarter" idx="26" hasCustomPrompt="1"/>
          </p:nvPr>
        </p:nvSpPr>
        <p:spPr>
          <a:xfrm>
            <a:off x="2943701" y="5465548"/>
            <a:ext cx="1280160"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90" name="Text Placeholder 63">
            <a:extLst>
              <a:ext uri="{FF2B5EF4-FFF2-40B4-BE49-F238E27FC236}">
                <a16:creationId xmlns:a16="http://schemas.microsoft.com/office/drawing/2014/main" id="{AF627030-2DCF-9DA1-DB4E-EC8AA8265BEC}"/>
              </a:ext>
            </a:extLst>
          </p:cNvPr>
          <p:cNvSpPr>
            <a:spLocks noGrp="1"/>
          </p:cNvSpPr>
          <p:nvPr userDrawn="1">
            <p:ph type="body" sz="quarter" idx="27" hasCustomPrompt="1"/>
          </p:nvPr>
        </p:nvSpPr>
        <p:spPr>
          <a:xfrm>
            <a:off x="2943701" y="5953229"/>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57" name="Text Placeholder 5">
            <a:extLst>
              <a:ext uri="{FF2B5EF4-FFF2-40B4-BE49-F238E27FC236}">
                <a16:creationId xmlns:a16="http://schemas.microsoft.com/office/drawing/2014/main" id="{C4AF0805-0FC2-7B09-EA4F-BF7CE80CE69E}"/>
              </a:ext>
            </a:extLst>
          </p:cNvPr>
          <p:cNvSpPr>
            <a:spLocks noGrp="1"/>
          </p:cNvSpPr>
          <p:nvPr>
            <p:ph type="body" sz="quarter" idx="53" hasCustomPrompt="1"/>
          </p:nvPr>
        </p:nvSpPr>
        <p:spPr>
          <a:xfrm>
            <a:off x="5697529" y="4598571"/>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92" name="Text Placeholder 61">
            <a:extLst>
              <a:ext uri="{FF2B5EF4-FFF2-40B4-BE49-F238E27FC236}">
                <a16:creationId xmlns:a16="http://schemas.microsoft.com/office/drawing/2014/main" id="{11CD16D6-010B-3E00-E346-C449BE8A103F}"/>
              </a:ext>
            </a:extLst>
          </p:cNvPr>
          <p:cNvSpPr>
            <a:spLocks noGrp="1"/>
          </p:cNvSpPr>
          <p:nvPr userDrawn="1">
            <p:ph type="body" sz="quarter" idx="29" hasCustomPrompt="1"/>
          </p:nvPr>
        </p:nvSpPr>
        <p:spPr>
          <a:xfrm>
            <a:off x="5840980" y="5211225"/>
            <a:ext cx="1348182"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93" name="Text Placeholder 63">
            <a:extLst>
              <a:ext uri="{FF2B5EF4-FFF2-40B4-BE49-F238E27FC236}">
                <a16:creationId xmlns:a16="http://schemas.microsoft.com/office/drawing/2014/main" id="{60EAE46B-6724-AB6B-191E-6CCB8917DA70}"/>
              </a:ext>
            </a:extLst>
          </p:cNvPr>
          <p:cNvSpPr>
            <a:spLocks noGrp="1"/>
          </p:cNvSpPr>
          <p:nvPr userDrawn="1">
            <p:ph type="body" sz="quarter" idx="30" hasCustomPrompt="1"/>
          </p:nvPr>
        </p:nvSpPr>
        <p:spPr>
          <a:xfrm>
            <a:off x="5840980" y="5698906"/>
            <a:ext cx="1348182"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107" name="Text Placeholder 97">
            <a:extLst>
              <a:ext uri="{FF2B5EF4-FFF2-40B4-BE49-F238E27FC236}">
                <a16:creationId xmlns:a16="http://schemas.microsoft.com/office/drawing/2014/main" id="{C668B3C1-868A-2098-CD67-28AEB3250032}"/>
              </a:ext>
            </a:extLst>
          </p:cNvPr>
          <p:cNvSpPr>
            <a:spLocks noGrp="1"/>
          </p:cNvSpPr>
          <p:nvPr userDrawn="1">
            <p:ph type="body" sz="quarter" idx="42" hasCustomPrompt="1"/>
          </p:nvPr>
        </p:nvSpPr>
        <p:spPr>
          <a:xfrm>
            <a:off x="6971098" y="5809913"/>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65" name="Text Placeholder 5">
            <a:extLst>
              <a:ext uri="{FF2B5EF4-FFF2-40B4-BE49-F238E27FC236}">
                <a16:creationId xmlns:a16="http://schemas.microsoft.com/office/drawing/2014/main" id="{4BB22A85-B877-39A1-C018-64A3FEDCCC68}"/>
              </a:ext>
            </a:extLst>
          </p:cNvPr>
          <p:cNvSpPr>
            <a:spLocks noGrp="1"/>
          </p:cNvSpPr>
          <p:nvPr>
            <p:ph type="body" sz="quarter" idx="56" hasCustomPrompt="1"/>
          </p:nvPr>
        </p:nvSpPr>
        <p:spPr>
          <a:xfrm>
            <a:off x="6456687" y="1620863"/>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72" name="Text Placeholder 61">
            <a:extLst>
              <a:ext uri="{FF2B5EF4-FFF2-40B4-BE49-F238E27FC236}">
                <a16:creationId xmlns:a16="http://schemas.microsoft.com/office/drawing/2014/main" id="{6CEEACE9-8EE4-FC32-AF27-4B73BC93D379}"/>
              </a:ext>
            </a:extLst>
          </p:cNvPr>
          <p:cNvSpPr>
            <a:spLocks noGrp="1"/>
          </p:cNvSpPr>
          <p:nvPr userDrawn="1">
            <p:ph type="body" sz="quarter" idx="17" hasCustomPrompt="1"/>
          </p:nvPr>
        </p:nvSpPr>
        <p:spPr>
          <a:xfrm>
            <a:off x="6631548" y="2244785"/>
            <a:ext cx="1280160" cy="475432"/>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73" name="Text Placeholder 63">
            <a:extLst>
              <a:ext uri="{FF2B5EF4-FFF2-40B4-BE49-F238E27FC236}">
                <a16:creationId xmlns:a16="http://schemas.microsoft.com/office/drawing/2014/main" id="{BB7F9FF1-7617-3B39-E510-593E236FBA7E}"/>
              </a:ext>
            </a:extLst>
          </p:cNvPr>
          <p:cNvSpPr>
            <a:spLocks noGrp="1"/>
          </p:cNvSpPr>
          <p:nvPr userDrawn="1">
            <p:ph type="body" sz="quarter" idx="18" hasCustomPrompt="1"/>
          </p:nvPr>
        </p:nvSpPr>
        <p:spPr>
          <a:xfrm>
            <a:off x="6631548" y="2717225"/>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104" name="Text Placeholder 97">
            <a:extLst>
              <a:ext uri="{FF2B5EF4-FFF2-40B4-BE49-F238E27FC236}">
                <a16:creationId xmlns:a16="http://schemas.microsoft.com/office/drawing/2014/main" id="{0CD90A5F-4D3D-6BB1-B8CE-765DCC95EC90}"/>
              </a:ext>
            </a:extLst>
          </p:cNvPr>
          <p:cNvSpPr>
            <a:spLocks noGrp="1"/>
          </p:cNvSpPr>
          <p:nvPr userDrawn="1">
            <p:ph type="body" sz="quarter" idx="39" hasCustomPrompt="1"/>
          </p:nvPr>
        </p:nvSpPr>
        <p:spPr>
          <a:xfrm>
            <a:off x="7748705" y="2909287"/>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61" name="Text Placeholder 5">
            <a:extLst>
              <a:ext uri="{FF2B5EF4-FFF2-40B4-BE49-F238E27FC236}">
                <a16:creationId xmlns:a16="http://schemas.microsoft.com/office/drawing/2014/main" id="{82F7A4E9-C42A-A2A2-A151-F766779E3962}"/>
              </a:ext>
            </a:extLst>
          </p:cNvPr>
          <p:cNvSpPr>
            <a:spLocks noGrp="1"/>
          </p:cNvSpPr>
          <p:nvPr>
            <p:ph type="body" sz="quarter" idx="54" hasCustomPrompt="1"/>
          </p:nvPr>
        </p:nvSpPr>
        <p:spPr>
          <a:xfrm>
            <a:off x="8236399" y="4614369"/>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6" name="Text Placeholder 97">
            <a:extLst>
              <a:ext uri="{FF2B5EF4-FFF2-40B4-BE49-F238E27FC236}">
                <a16:creationId xmlns:a16="http://schemas.microsoft.com/office/drawing/2014/main" id="{51E633B7-1E95-92E2-7DDC-9A7B9E70B756}"/>
              </a:ext>
            </a:extLst>
          </p:cNvPr>
          <p:cNvSpPr>
            <a:spLocks noGrp="1"/>
          </p:cNvSpPr>
          <p:nvPr userDrawn="1">
            <p:ph type="body" sz="quarter" idx="41" hasCustomPrompt="1"/>
          </p:nvPr>
        </p:nvSpPr>
        <p:spPr>
          <a:xfrm>
            <a:off x="9479259" y="4328031"/>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95" name="Text Placeholder 61">
            <a:extLst>
              <a:ext uri="{FF2B5EF4-FFF2-40B4-BE49-F238E27FC236}">
                <a16:creationId xmlns:a16="http://schemas.microsoft.com/office/drawing/2014/main" id="{5FCDC069-8B0F-C8F3-14E9-43A09900CB95}"/>
              </a:ext>
            </a:extLst>
          </p:cNvPr>
          <p:cNvSpPr>
            <a:spLocks noGrp="1"/>
          </p:cNvSpPr>
          <p:nvPr userDrawn="1">
            <p:ph type="body" sz="quarter" idx="32" hasCustomPrompt="1"/>
          </p:nvPr>
        </p:nvSpPr>
        <p:spPr>
          <a:xfrm>
            <a:off x="8361036" y="5369722"/>
            <a:ext cx="1378359"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96" name="Text Placeholder 63">
            <a:extLst>
              <a:ext uri="{FF2B5EF4-FFF2-40B4-BE49-F238E27FC236}">
                <a16:creationId xmlns:a16="http://schemas.microsoft.com/office/drawing/2014/main" id="{CCA209C9-0DFE-4936-4192-BC3D167ABED8}"/>
              </a:ext>
            </a:extLst>
          </p:cNvPr>
          <p:cNvSpPr>
            <a:spLocks noGrp="1"/>
          </p:cNvSpPr>
          <p:nvPr userDrawn="1">
            <p:ph type="body" sz="quarter" idx="33" hasCustomPrompt="1"/>
          </p:nvPr>
        </p:nvSpPr>
        <p:spPr>
          <a:xfrm>
            <a:off x="8361036" y="5857403"/>
            <a:ext cx="1378359"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63" name="Text Placeholder 5">
            <a:extLst>
              <a:ext uri="{FF2B5EF4-FFF2-40B4-BE49-F238E27FC236}">
                <a16:creationId xmlns:a16="http://schemas.microsoft.com/office/drawing/2014/main" id="{89D6F33A-39E4-F20B-73C8-F48B2A375F86}"/>
              </a:ext>
            </a:extLst>
          </p:cNvPr>
          <p:cNvSpPr>
            <a:spLocks noGrp="1"/>
          </p:cNvSpPr>
          <p:nvPr>
            <p:ph type="body" sz="quarter" idx="55" hasCustomPrompt="1"/>
          </p:nvPr>
        </p:nvSpPr>
        <p:spPr>
          <a:xfrm>
            <a:off x="9442443" y="2600480"/>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5" name="Text Placeholder 97">
            <a:extLst>
              <a:ext uri="{FF2B5EF4-FFF2-40B4-BE49-F238E27FC236}">
                <a16:creationId xmlns:a16="http://schemas.microsoft.com/office/drawing/2014/main" id="{BC978A5E-BA57-D579-B645-8427AD22EA44}"/>
              </a:ext>
            </a:extLst>
          </p:cNvPr>
          <p:cNvSpPr>
            <a:spLocks noGrp="1"/>
          </p:cNvSpPr>
          <p:nvPr userDrawn="1">
            <p:ph type="body" sz="quarter" idx="40" hasCustomPrompt="1"/>
          </p:nvPr>
        </p:nvSpPr>
        <p:spPr>
          <a:xfrm>
            <a:off x="10752251" y="2307353"/>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75" name="Text Placeholder 61">
            <a:extLst>
              <a:ext uri="{FF2B5EF4-FFF2-40B4-BE49-F238E27FC236}">
                <a16:creationId xmlns:a16="http://schemas.microsoft.com/office/drawing/2014/main" id="{B6F832EC-808B-6975-C6A4-504CA92D4C2B}"/>
              </a:ext>
            </a:extLst>
          </p:cNvPr>
          <p:cNvSpPr>
            <a:spLocks noGrp="1"/>
          </p:cNvSpPr>
          <p:nvPr userDrawn="1">
            <p:ph type="body" sz="quarter" idx="20" hasCustomPrompt="1"/>
          </p:nvPr>
        </p:nvSpPr>
        <p:spPr>
          <a:xfrm>
            <a:off x="9609126" y="3233383"/>
            <a:ext cx="1280160" cy="475432"/>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76" name="Text Placeholder 63">
            <a:extLst>
              <a:ext uri="{FF2B5EF4-FFF2-40B4-BE49-F238E27FC236}">
                <a16:creationId xmlns:a16="http://schemas.microsoft.com/office/drawing/2014/main" id="{133A3E42-95A8-F5D9-0568-81B074FC5EBA}"/>
              </a:ext>
            </a:extLst>
          </p:cNvPr>
          <p:cNvSpPr>
            <a:spLocks noGrp="1"/>
          </p:cNvSpPr>
          <p:nvPr userDrawn="1">
            <p:ph type="body" sz="quarter" idx="21" hasCustomPrompt="1"/>
          </p:nvPr>
        </p:nvSpPr>
        <p:spPr>
          <a:xfrm>
            <a:off x="9609126" y="3705823"/>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grpSp>
        <p:nvGrpSpPr>
          <p:cNvPr id="111" name="Group 110">
            <a:extLst>
              <a:ext uri="{FF2B5EF4-FFF2-40B4-BE49-F238E27FC236}">
                <a16:creationId xmlns:a16="http://schemas.microsoft.com/office/drawing/2014/main" id="{3DF54CD3-BB3E-E782-CD8E-51009C4C983B}"/>
              </a:ext>
              <a:ext uri="{C183D7F6-B498-43B3-948B-1728B52AA6E4}">
                <adec:decorative xmlns:adec="http://schemas.microsoft.com/office/drawing/2017/decorative" xmlns="" val="1"/>
              </a:ext>
            </a:extLst>
          </p:cNvPr>
          <p:cNvGrpSpPr/>
          <p:nvPr userDrawn="1"/>
        </p:nvGrpSpPr>
        <p:grpSpPr>
          <a:xfrm>
            <a:off x="904788" y="2454293"/>
            <a:ext cx="952774" cy="952774"/>
            <a:chOff x="1439932" y="5704678"/>
            <a:chExt cx="528220" cy="528220"/>
          </a:xfrm>
        </p:grpSpPr>
        <p:sp>
          <p:nvSpPr>
            <p:cNvPr id="112" name="Rounded Rectangle 22">
              <a:extLst>
                <a:ext uri="{FF2B5EF4-FFF2-40B4-BE49-F238E27FC236}">
                  <a16:creationId xmlns:a16="http://schemas.microsoft.com/office/drawing/2014/main" id="{AF537999-FC7A-D972-3F60-688A6E291ABB}"/>
                </a:ext>
              </a:extLst>
            </p:cNvPr>
            <p:cNvSpPr/>
            <p:nvPr/>
          </p:nvSpPr>
          <p:spPr>
            <a:xfrm>
              <a:off x="1584325" y="5946775"/>
              <a:ext cx="231775" cy="257175"/>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13" name="Graphic 112" descr="Beaker outline">
              <a:extLst>
                <a:ext uri="{FF2B5EF4-FFF2-40B4-BE49-F238E27FC236}">
                  <a16:creationId xmlns:a16="http://schemas.microsoft.com/office/drawing/2014/main" id="{0B68F278-EA7A-A028-E6FE-49BCB80C02E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439932" y="5704678"/>
              <a:ext cx="528220" cy="528220"/>
            </a:xfrm>
            <a:prstGeom prst="rect">
              <a:avLst/>
            </a:prstGeom>
          </p:spPr>
        </p:pic>
      </p:grpSp>
      <p:grpSp>
        <p:nvGrpSpPr>
          <p:cNvPr id="25" name="Group 24">
            <a:extLst>
              <a:ext uri="{FF2B5EF4-FFF2-40B4-BE49-F238E27FC236}">
                <a16:creationId xmlns:a16="http://schemas.microsoft.com/office/drawing/2014/main" id="{DA472485-8431-4413-76EE-E60ECE8C4CCA}"/>
              </a:ext>
              <a:ext uri="{C183D7F6-B498-43B3-948B-1728B52AA6E4}">
                <adec:decorative xmlns:adec="http://schemas.microsoft.com/office/drawing/2017/decorative" xmlns="" val="1"/>
              </a:ext>
            </a:extLst>
          </p:cNvPr>
          <p:cNvGrpSpPr/>
          <p:nvPr userDrawn="1"/>
        </p:nvGrpSpPr>
        <p:grpSpPr>
          <a:xfrm>
            <a:off x="2664150" y="3684053"/>
            <a:ext cx="952774" cy="952774"/>
            <a:chOff x="2951231" y="3465853"/>
            <a:chExt cx="528220" cy="528220"/>
          </a:xfrm>
        </p:grpSpPr>
        <p:sp>
          <p:nvSpPr>
            <p:cNvPr id="26" name="Triangle 25">
              <a:extLst>
                <a:ext uri="{FF2B5EF4-FFF2-40B4-BE49-F238E27FC236}">
                  <a16:creationId xmlns:a16="http://schemas.microsoft.com/office/drawing/2014/main" id="{E67F9920-7336-E2C5-FDBA-ED51BB31268E}"/>
                </a:ext>
              </a:extLst>
            </p:cNvPr>
            <p:cNvSpPr/>
            <p:nvPr/>
          </p:nvSpPr>
          <p:spPr>
            <a:xfrm>
              <a:off x="3117064" y="3719958"/>
              <a:ext cx="196553" cy="241108"/>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7" name="Graphic 26" descr="Flask outline">
              <a:extLst>
                <a:ext uri="{FF2B5EF4-FFF2-40B4-BE49-F238E27FC236}">
                  <a16:creationId xmlns:a16="http://schemas.microsoft.com/office/drawing/2014/main" id="{F4815F2C-6ED5-865C-6B4B-80AFD725C0BD}"/>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2951231" y="3465853"/>
              <a:ext cx="528220" cy="528220"/>
            </a:xfrm>
            <a:prstGeom prst="rect">
              <a:avLst/>
            </a:prstGeom>
          </p:spPr>
        </p:pic>
      </p:grpSp>
      <p:grpSp>
        <p:nvGrpSpPr>
          <p:cNvPr id="28" name="Group 27">
            <a:extLst>
              <a:ext uri="{FF2B5EF4-FFF2-40B4-BE49-F238E27FC236}">
                <a16:creationId xmlns:a16="http://schemas.microsoft.com/office/drawing/2014/main" id="{71EE792B-79B1-50C3-343A-E3F4D5402B9B}"/>
              </a:ext>
              <a:ext uri="{C183D7F6-B498-43B3-948B-1728B52AA6E4}">
                <adec:decorative xmlns:adec="http://schemas.microsoft.com/office/drawing/2017/decorative" xmlns="" val="1"/>
              </a:ext>
            </a:extLst>
          </p:cNvPr>
          <p:cNvGrpSpPr/>
          <p:nvPr userDrawn="1"/>
        </p:nvGrpSpPr>
        <p:grpSpPr>
          <a:xfrm>
            <a:off x="3938315" y="1480066"/>
            <a:ext cx="952774" cy="952774"/>
            <a:chOff x="4289303" y="1663393"/>
            <a:chExt cx="528220" cy="528220"/>
          </a:xfrm>
        </p:grpSpPr>
        <p:sp>
          <p:nvSpPr>
            <p:cNvPr id="29" name="Triangle 28">
              <a:extLst>
                <a:ext uri="{FF2B5EF4-FFF2-40B4-BE49-F238E27FC236}">
                  <a16:creationId xmlns:a16="http://schemas.microsoft.com/office/drawing/2014/main" id="{F8552807-4426-A927-ECE6-5AC796EC0C35}"/>
                </a:ext>
              </a:extLst>
            </p:cNvPr>
            <p:cNvSpPr/>
            <p:nvPr/>
          </p:nvSpPr>
          <p:spPr>
            <a:xfrm>
              <a:off x="4413250" y="1775103"/>
              <a:ext cx="174625" cy="14605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0" name="Graphic 29" descr="Mountains outline">
              <a:extLst>
                <a:ext uri="{FF2B5EF4-FFF2-40B4-BE49-F238E27FC236}">
                  <a16:creationId xmlns:a16="http://schemas.microsoft.com/office/drawing/2014/main" id="{DAB608FC-C0B8-B163-AE89-433F36BD13C1}"/>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4289303" y="1663393"/>
              <a:ext cx="528220" cy="528220"/>
            </a:xfrm>
            <a:prstGeom prst="rect">
              <a:avLst/>
            </a:prstGeom>
          </p:spPr>
        </p:pic>
      </p:grpSp>
      <p:grpSp>
        <p:nvGrpSpPr>
          <p:cNvPr id="59" name="Group 58">
            <a:extLst>
              <a:ext uri="{FF2B5EF4-FFF2-40B4-BE49-F238E27FC236}">
                <a16:creationId xmlns:a16="http://schemas.microsoft.com/office/drawing/2014/main" id="{D99B50B6-EFD7-4DFA-6C2D-453341A8DCED}"/>
              </a:ext>
              <a:ext uri="{C183D7F6-B498-43B3-948B-1728B52AA6E4}">
                <adec:decorative xmlns:adec="http://schemas.microsoft.com/office/drawing/2017/decorative" xmlns="" val="1"/>
              </a:ext>
            </a:extLst>
          </p:cNvPr>
          <p:cNvGrpSpPr/>
          <p:nvPr userDrawn="1"/>
        </p:nvGrpSpPr>
        <p:grpSpPr>
          <a:xfrm>
            <a:off x="4622277" y="5047462"/>
            <a:ext cx="805762" cy="805762"/>
            <a:chOff x="4622277" y="5047462"/>
            <a:chExt cx="805762" cy="805762"/>
          </a:xfrm>
        </p:grpSpPr>
        <p:sp>
          <p:nvSpPr>
            <p:cNvPr id="48" name="Oval 47">
              <a:extLst>
                <a:ext uri="{FF2B5EF4-FFF2-40B4-BE49-F238E27FC236}">
                  <a16:creationId xmlns:a16="http://schemas.microsoft.com/office/drawing/2014/main" id="{B5628EA7-1F58-28ED-D2BF-911EDFF9C1AE}"/>
                </a:ext>
                <a:ext uri="{C183D7F6-B498-43B3-948B-1728B52AA6E4}">
                  <adec:decorative xmlns:adec="http://schemas.microsoft.com/office/drawing/2017/decorative" xmlns="" val="1"/>
                </a:ext>
              </a:extLst>
            </p:cNvPr>
            <p:cNvSpPr/>
            <p:nvPr userDrawn="1"/>
          </p:nvSpPr>
          <p:spPr>
            <a:xfrm>
              <a:off x="4682503" y="5096114"/>
              <a:ext cx="708759" cy="708759"/>
            </a:xfrm>
            <a:prstGeom prst="ellipse">
              <a:avLst/>
            </a:prstGeom>
            <a:solidFill>
              <a:schemeClr val="accent4">
                <a:lumMod val="60000"/>
                <a:lumOff val="4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8" name="Group 17">
              <a:extLst>
                <a:ext uri="{FF2B5EF4-FFF2-40B4-BE49-F238E27FC236}">
                  <a16:creationId xmlns:a16="http://schemas.microsoft.com/office/drawing/2014/main" id="{B4B798C8-1467-0056-A809-6782DE79ABB4}"/>
                </a:ext>
                <a:ext uri="{C183D7F6-B498-43B3-948B-1728B52AA6E4}">
                  <adec:decorative xmlns:adec="http://schemas.microsoft.com/office/drawing/2017/decorative" xmlns="" val="1"/>
                </a:ext>
              </a:extLst>
            </p:cNvPr>
            <p:cNvGrpSpPr/>
            <p:nvPr userDrawn="1"/>
          </p:nvGrpSpPr>
          <p:grpSpPr>
            <a:xfrm>
              <a:off x="4622277" y="5047462"/>
              <a:ext cx="805762" cy="805762"/>
              <a:chOff x="4754023" y="5074814"/>
              <a:chExt cx="528220" cy="528220"/>
            </a:xfrm>
          </p:grpSpPr>
          <p:sp>
            <p:nvSpPr>
              <p:cNvPr id="19" name="Oval 18">
                <a:extLst>
                  <a:ext uri="{FF2B5EF4-FFF2-40B4-BE49-F238E27FC236}">
                    <a16:creationId xmlns:a16="http://schemas.microsoft.com/office/drawing/2014/main" id="{0B213240-4F8D-98CD-565D-2EC9BEDADC1B}"/>
                  </a:ext>
                </a:extLst>
              </p:cNvPr>
              <p:cNvSpPr/>
              <p:nvPr/>
            </p:nvSpPr>
            <p:spPr>
              <a:xfrm>
                <a:off x="4997450" y="5334000"/>
                <a:ext cx="47625" cy="4762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1" name="Graphic 20" descr="Stopwatch 50% outline">
                <a:extLst>
                  <a:ext uri="{FF2B5EF4-FFF2-40B4-BE49-F238E27FC236}">
                    <a16:creationId xmlns:a16="http://schemas.microsoft.com/office/drawing/2014/main" id="{46885AC9-7CD3-8BC1-E57A-61B4E8C1E1EA}"/>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4754023" y="5074814"/>
                <a:ext cx="528220" cy="528220"/>
              </a:xfrm>
              <a:prstGeom prst="rect">
                <a:avLst/>
              </a:prstGeom>
            </p:spPr>
          </p:pic>
        </p:grpSp>
      </p:grpSp>
      <p:grpSp>
        <p:nvGrpSpPr>
          <p:cNvPr id="8" name="Group 7">
            <a:extLst>
              <a:ext uri="{FF2B5EF4-FFF2-40B4-BE49-F238E27FC236}">
                <a16:creationId xmlns:a16="http://schemas.microsoft.com/office/drawing/2014/main" id="{63C61C0D-B53E-B284-0E62-9A7696BD9534}"/>
              </a:ext>
              <a:ext uri="{C183D7F6-B498-43B3-948B-1728B52AA6E4}">
                <adec:decorative xmlns:adec="http://schemas.microsoft.com/office/drawing/2017/decorative" xmlns="" val="1"/>
              </a:ext>
            </a:extLst>
          </p:cNvPr>
          <p:cNvGrpSpPr/>
          <p:nvPr userDrawn="1"/>
        </p:nvGrpSpPr>
        <p:grpSpPr>
          <a:xfrm>
            <a:off x="6561140" y="3547070"/>
            <a:ext cx="952774" cy="991627"/>
            <a:chOff x="6561140" y="3547070"/>
            <a:chExt cx="952774" cy="991627"/>
          </a:xfrm>
        </p:grpSpPr>
        <p:sp>
          <p:nvSpPr>
            <p:cNvPr id="49" name="Oval 48">
              <a:extLst>
                <a:ext uri="{FF2B5EF4-FFF2-40B4-BE49-F238E27FC236}">
                  <a16:creationId xmlns:a16="http://schemas.microsoft.com/office/drawing/2014/main" id="{1ED6A410-8C78-CE05-2EF9-C9A68C64C280}"/>
                </a:ext>
                <a:ext uri="{C183D7F6-B498-43B3-948B-1728B52AA6E4}">
                  <adec:decorative xmlns:adec="http://schemas.microsoft.com/office/drawing/2017/decorative" xmlns="" val="1"/>
                </a:ext>
              </a:extLst>
            </p:cNvPr>
            <p:cNvSpPr/>
            <p:nvPr userDrawn="1"/>
          </p:nvSpPr>
          <p:spPr>
            <a:xfrm>
              <a:off x="6681053" y="3547070"/>
              <a:ext cx="708759" cy="708759"/>
            </a:xfrm>
            <a:prstGeom prst="ellipse">
              <a:avLst/>
            </a:prstGeom>
            <a:solidFill>
              <a:schemeClr val="accent4">
                <a:lumMod val="60000"/>
                <a:lumOff val="4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5" name="Group 14">
              <a:extLst>
                <a:ext uri="{FF2B5EF4-FFF2-40B4-BE49-F238E27FC236}">
                  <a16:creationId xmlns:a16="http://schemas.microsoft.com/office/drawing/2014/main" id="{2BA5654A-7FC5-4977-C6AD-476320F5D90E}"/>
                </a:ext>
                <a:ext uri="{C183D7F6-B498-43B3-948B-1728B52AA6E4}">
                  <adec:decorative xmlns:adec="http://schemas.microsoft.com/office/drawing/2017/decorative" xmlns="" val="1"/>
                </a:ext>
              </a:extLst>
            </p:cNvPr>
            <p:cNvGrpSpPr/>
            <p:nvPr userDrawn="1"/>
          </p:nvGrpSpPr>
          <p:grpSpPr>
            <a:xfrm>
              <a:off x="6561140" y="3585923"/>
              <a:ext cx="952774" cy="952774"/>
              <a:chOff x="6747063" y="4036055"/>
              <a:chExt cx="528220" cy="528220"/>
            </a:xfrm>
          </p:grpSpPr>
          <p:sp>
            <p:nvSpPr>
              <p:cNvPr id="16" name="Rounded Rectangle 15">
                <a:extLst>
                  <a:ext uri="{FF2B5EF4-FFF2-40B4-BE49-F238E27FC236}">
                    <a16:creationId xmlns:a16="http://schemas.microsoft.com/office/drawing/2014/main" id="{C21946C9-9EAF-4B63-599A-FC4E42672D69}"/>
                  </a:ext>
                </a:extLst>
              </p:cNvPr>
              <p:cNvSpPr/>
              <p:nvPr/>
            </p:nvSpPr>
            <p:spPr>
              <a:xfrm>
                <a:off x="6943725" y="4137025"/>
                <a:ext cx="139700" cy="1524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7" name="Graphic 16" descr="Astronaut male outline">
                <a:extLst>
                  <a:ext uri="{FF2B5EF4-FFF2-40B4-BE49-F238E27FC236}">
                    <a16:creationId xmlns:a16="http://schemas.microsoft.com/office/drawing/2014/main" id="{669C584F-84D8-2E01-04A5-78685124A48C}"/>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6747063" y="4036055"/>
                <a:ext cx="528220" cy="528220"/>
              </a:xfrm>
              <a:prstGeom prst="rect">
                <a:avLst/>
              </a:prstGeom>
            </p:spPr>
          </p:pic>
        </p:grpSp>
      </p:grpSp>
      <p:grpSp>
        <p:nvGrpSpPr>
          <p:cNvPr id="60" name="Group 59">
            <a:extLst>
              <a:ext uri="{FF2B5EF4-FFF2-40B4-BE49-F238E27FC236}">
                <a16:creationId xmlns:a16="http://schemas.microsoft.com/office/drawing/2014/main" id="{6149857E-2F60-360F-AF5E-6E21997C3EA4}"/>
              </a:ext>
              <a:ext uri="{C183D7F6-B498-43B3-948B-1728B52AA6E4}">
                <adec:decorative xmlns:adec="http://schemas.microsoft.com/office/drawing/2017/decorative" xmlns="" val="1"/>
              </a:ext>
            </a:extLst>
          </p:cNvPr>
          <p:cNvGrpSpPr/>
          <p:nvPr userDrawn="1"/>
        </p:nvGrpSpPr>
        <p:grpSpPr>
          <a:xfrm>
            <a:off x="7989572" y="1815518"/>
            <a:ext cx="952774" cy="1002186"/>
            <a:chOff x="7989572" y="1815518"/>
            <a:chExt cx="952774" cy="1002186"/>
          </a:xfrm>
        </p:grpSpPr>
        <p:sp>
          <p:nvSpPr>
            <p:cNvPr id="50" name="Oval 49">
              <a:extLst>
                <a:ext uri="{FF2B5EF4-FFF2-40B4-BE49-F238E27FC236}">
                  <a16:creationId xmlns:a16="http://schemas.microsoft.com/office/drawing/2014/main" id="{07A2D96D-82E4-1EE2-0409-4CDEBEA4176D}"/>
                </a:ext>
                <a:ext uri="{C183D7F6-B498-43B3-948B-1728B52AA6E4}">
                  <adec:decorative xmlns:adec="http://schemas.microsoft.com/office/drawing/2017/decorative" xmlns="" val="1"/>
                </a:ext>
              </a:extLst>
            </p:cNvPr>
            <p:cNvSpPr/>
            <p:nvPr userDrawn="1"/>
          </p:nvSpPr>
          <p:spPr>
            <a:xfrm>
              <a:off x="8156791" y="1815518"/>
              <a:ext cx="549989" cy="952774"/>
            </a:xfrm>
            <a:prstGeom prst="ellipse">
              <a:avLst/>
            </a:prstGeom>
            <a:solidFill>
              <a:schemeClr val="accent4">
                <a:lumMod val="60000"/>
                <a:lumOff val="4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1" name="Group 40">
              <a:extLst>
                <a:ext uri="{FF2B5EF4-FFF2-40B4-BE49-F238E27FC236}">
                  <a16:creationId xmlns:a16="http://schemas.microsoft.com/office/drawing/2014/main" id="{0251065B-A02E-6D16-E39C-A8CDAB7272B8}"/>
                </a:ext>
                <a:ext uri="{C183D7F6-B498-43B3-948B-1728B52AA6E4}">
                  <adec:decorative xmlns:adec="http://schemas.microsoft.com/office/drawing/2017/decorative" xmlns="" val="1"/>
                </a:ext>
              </a:extLst>
            </p:cNvPr>
            <p:cNvGrpSpPr/>
            <p:nvPr userDrawn="1"/>
          </p:nvGrpSpPr>
          <p:grpSpPr>
            <a:xfrm>
              <a:off x="7989572" y="1864930"/>
              <a:ext cx="952774" cy="952774"/>
              <a:chOff x="8184330" y="2237414"/>
              <a:chExt cx="528220" cy="528220"/>
            </a:xfrm>
          </p:grpSpPr>
          <p:sp>
            <p:nvSpPr>
              <p:cNvPr id="42" name="Rounded Rectangle 41">
                <a:extLst>
                  <a:ext uri="{FF2B5EF4-FFF2-40B4-BE49-F238E27FC236}">
                    <a16:creationId xmlns:a16="http://schemas.microsoft.com/office/drawing/2014/main" id="{0E3875A7-721F-9D93-6152-34CD9E51E351}"/>
                  </a:ext>
                </a:extLst>
              </p:cNvPr>
              <p:cNvSpPr/>
              <p:nvPr/>
            </p:nvSpPr>
            <p:spPr>
              <a:xfrm>
                <a:off x="8375754" y="2552075"/>
                <a:ext cx="146154" cy="10867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43" name="Graphic 42" descr="Fluorescent Light Blub outline">
                <a:extLst>
                  <a:ext uri="{FF2B5EF4-FFF2-40B4-BE49-F238E27FC236}">
                    <a16:creationId xmlns:a16="http://schemas.microsoft.com/office/drawing/2014/main" id="{AAAAD4CF-FEF8-CD94-C24A-F58B69EA741D}"/>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8184330" y="2237414"/>
                <a:ext cx="528220" cy="528220"/>
              </a:xfrm>
              <a:prstGeom prst="rect">
                <a:avLst/>
              </a:prstGeom>
            </p:spPr>
          </p:pic>
        </p:grpSp>
      </p:grpSp>
      <p:grpSp>
        <p:nvGrpSpPr>
          <p:cNvPr id="36" name="Group 35">
            <a:extLst>
              <a:ext uri="{FF2B5EF4-FFF2-40B4-BE49-F238E27FC236}">
                <a16:creationId xmlns:a16="http://schemas.microsoft.com/office/drawing/2014/main" id="{EBAAFE76-32E1-9AFA-B10F-10B6FF9B1010}"/>
              </a:ext>
              <a:ext uri="{C183D7F6-B498-43B3-948B-1728B52AA6E4}">
                <adec:decorative xmlns:adec="http://schemas.microsoft.com/office/drawing/2017/decorative" xmlns="" val="1"/>
              </a:ext>
            </a:extLst>
          </p:cNvPr>
          <p:cNvGrpSpPr/>
          <p:nvPr userDrawn="1"/>
        </p:nvGrpSpPr>
        <p:grpSpPr>
          <a:xfrm>
            <a:off x="9340613" y="1492493"/>
            <a:ext cx="952774" cy="952774"/>
            <a:chOff x="11298880" y="3198881"/>
            <a:chExt cx="528220" cy="528220"/>
          </a:xfrm>
        </p:grpSpPr>
        <p:sp>
          <p:nvSpPr>
            <p:cNvPr id="37" name="Triangle 36">
              <a:extLst>
                <a:ext uri="{FF2B5EF4-FFF2-40B4-BE49-F238E27FC236}">
                  <a16:creationId xmlns:a16="http://schemas.microsoft.com/office/drawing/2014/main" id="{7EC20B07-2082-1525-F73C-72C3AEFD7AEF}"/>
                </a:ext>
              </a:extLst>
            </p:cNvPr>
            <p:cNvSpPr/>
            <p:nvPr/>
          </p:nvSpPr>
          <p:spPr>
            <a:xfrm rot="2647120">
              <a:off x="11709901" y="3241598"/>
              <a:ext cx="89654" cy="5344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38" name="Group 37">
              <a:extLst>
                <a:ext uri="{FF2B5EF4-FFF2-40B4-BE49-F238E27FC236}">
                  <a16:creationId xmlns:a16="http://schemas.microsoft.com/office/drawing/2014/main" id="{30A6CB04-7F44-2656-B5C0-BA19CF4A55EF}"/>
                </a:ext>
              </a:extLst>
            </p:cNvPr>
            <p:cNvGrpSpPr/>
            <p:nvPr/>
          </p:nvGrpSpPr>
          <p:grpSpPr>
            <a:xfrm>
              <a:off x="11298880" y="3198881"/>
              <a:ext cx="528220" cy="528220"/>
              <a:chOff x="11298880" y="3198881"/>
              <a:chExt cx="528220" cy="528220"/>
            </a:xfrm>
          </p:grpSpPr>
          <p:sp>
            <p:nvSpPr>
              <p:cNvPr id="39" name="Oval 38">
                <a:extLst>
                  <a:ext uri="{FF2B5EF4-FFF2-40B4-BE49-F238E27FC236}">
                    <a16:creationId xmlns:a16="http://schemas.microsoft.com/office/drawing/2014/main" id="{DDE88159-7C0D-0ECA-4691-159E9F72B0C3}"/>
                  </a:ext>
                </a:extLst>
              </p:cNvPr>
              <p:cNvSpPr/>
              <p:nvPr/>
            </p:nvSpPr>
            <p:spPr>
              <a:xfrm>
                <a:off x="11623675" y="3327400"/>
                <a:ext cx="73025" cy="7302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40" name="Graphic 39" descr="Rocket outline">
                <a:extLst>
                  <a:ext uri="{FF2B5EF4-FFF2-40B4-BE49-F238E27FC236}">
                    <a16:creationId xmlns:a16="http://schemas.microsoft.com/office/drawing/2014/main" id="{31D8AE9C-6DAE-18D0-4E11-D1847BFA33A3}"/>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11298880" y="3198881"/>
                <a:ext cx="528220" cy="528220"/>
              </a:xfrm>
              <a:prstGeom prst="rect">
                <a:avLst/>
              </a:prstGeom>
            </p:spPr>
          </p:pic>
        </p:grpSp>
      </p:grpSp>
      <p:grpSp>
        <p:nvGrpSpPr>
          <p:cNvPr id="31" name="Group 30">
            <a:extLst>
              <a:ext uri="{FF2B5EF4-FFF2-40B4-BE49-F238E27FC236}">
                <a16:creationId xmlns:a16="http://schemas.microsoft.com/office/drawing/2014/main" id="{3E151E43-388D-1379-0C86-3B16B7D21A20}"/>
              </a:ext>
              <a:ext uri="{C183D7F6-B498-43B3-948B-1728B52AA6E4}">
                <adec:decorative xmlns:adec="http://schemas.microsoft.com/office/drawing/2017/decorative" xmlns="" val="1"/>
              </a:ext>
            </a:extLst>
          </p:cNvPr>
          <p:cNvGrpSpPr/>
          <p:nvPr userDrawn="1"/>
        </p:nvGrpSpPr>
        <p:grpSpPr>
          <a:xfrm>
            <a:off x="10415559" y="4602158"/>
            <a:ext cx="952774" cy="952774"/>
            <a:chOff x="8712550" y="4007070"/>
            <a:chExt cx="528220" cy="528220"/>
          </a:xfrm>
        </p:grpSpPr>
        <p:sp>
          <p:nvSpPr>
            <p:cNvPr id="32" name="Oval 31">
              <a:extLst>
                <a:ext uri="{FF2B5EF4-FFF2-40B4-BE49-F238E27FC236}">
                  <a16:creationId xmlns:a16="http://schemas.microsoft.com/office/drawing/2014/main" id="{A684B467-F2BC-E2CA-C1D8-58E2B8928DE0}"/>
                </a:ext>
              </a:extLst>
            </p:cNvPr>
            <p:cNvSpPr/>
            <p:nvPr/>
          </p:nvSpPr>
          <p:spPr>
            <a:xfrm>
              <a:off x="9051925" y="4200525"/>
              <a:ext cx="45719" cy="4571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33" name="Group 32">
              <a:extLst>
                <a:ext uri="{FF2B5EF4-FFF2-40B4-BE49-F238E27FC236}">
                  <a16:creationId xmlns:a16="http://schemas.microsoft.com/office/drawing/2014/main" id="{FC8A76DE-D6B4-E7E8-9BFC-5047FA2FBC9E}"/>
                </a:ext>
              </a:extLst>
            </p:cNvPr>
            <p:cNvGrpSpPr/>
            <p:nvPr/>
          </p:nvGrpSpPr>
          <p:grpSpPr>
            <a:xfrm>
              <a:off x="8712550" y="4007070"/>
              <a:ext cx="528220" cy="528220"/>
              <a:chOff x="8712550" y="4007070"/>
              <a:chExt cx="528220" cy="528220"/>
            </a:xfrm>
          </p:grpSpPr>
          <p:sp>
            <p:nvSpPr>
              <p:cNvPr id="34" name="Oval 33">
                <a:extLst>
                  <a:ext uri="{FF2B5EF4-FFF2-40B4-BE49-F238E27FC236}">
                    <a16:creationId xmlns:a16="http://schemas.microsoft.com/office/drawing/2014/main" id="{F7CB0088-71D9-B173-01F3-643D37EA15A1}"/>
                  </a:ext>
                </a:extLst>
              </p:cNvPr>
              <p:cNvSpPr/>
              <p:nvPr/>
            </p:nvSpPr>
            <p:spPr>
              <a:xfrm>
                <a:off x="8858250" y="4162425"/>
                <a:ext cx="123825" cy="12382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5" name="Graphic 34" descr="Test Dummy outline">
                <a:extLst>
                  <a:ext uri="{FF2B5EF4-FFF2-40B4-BE49-F238E27FC236}">
                    <a16:creationId xmlns:a16="http://schemas.microsoft.com/office/drawing/2014/main" id="{FFF4E145-FBE6-1035-8727-3E5365516D57}"/>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8712550" y="4007070"/>
                <a:ext cx="528220" cy="528220"/>
              </a:xfrm>
              <a:prstGeom prst="rect">
                <a:avLst/>
              </a:prstGeom>
            </p:spPr>
          </p:pic>
        </p:grpSp>
      </p:grpSp>
      <p:grpSp>
        <p:nvGrpSpPr>
          <p:cNvPr id="58" name="Group 57">
            <a:extLst>
              <a:ext uri="{FF2B5EF4-FFF2-40B4-BE49-F238E27FC236}">
                <a16:creationId xmlns:a16="http://schemas.microsoft.com/office/drawing/2014/main" id="{09AD1300-26B6-4618-9923-C9763BEA8E46}"/>
              </a:ext>
              <a:ext uri="{C183D7F6-B498-43B3-948B-1728B52AA6E4}">
                <adec:decorative xmlns:adec="http://schemas.microsoft.com/office/drawing/2017/decorative" xmlns="" val="1"/>
              </a:ext>
            </a:extLst>
          </p:cNvPr>
          <p:cNvGrpSpPr/>
          <p:nvPr userDrawn="1"/>
        </p:nvGrpSpPr>
        <p:grpSpPr>
          <a:xfrm>
            <a:off x="177629" y="1323744"/>
            <a:ext cx="11401345" cy="4795500"/>
            <a:chOff x="177629" y="1323744"/>
            <a:chExt cx="11401345" cy="4795500"/>
          </a:xfrm>
        </p:grpSpPr>
        <p:grpSp>
          <p:nvGrpSpPr>
            <p:cNvPr id="196" name="Group 195">
              <a:extLst>
                <a:ext uri="{FF2B5EF4-FFF2-40B4-BE49-F238E27FC236}">
                  <a16:creationId xmlns:a16="http://schemas.microsoft.com/office/drawing/2014/main" id="{191DB388-8AE6-D27E-EE45-54AE4D407964}"/>
                </a:ext>
                <a:ext uri="{C183D7F6-B498-43B3-948B-1728B52AA6E4}">
                  <adec:decorative xmlns:adec="http://schemas.microsoft.com/office/drawing/2017/decorative" xmlns="" val="1"/>
                </a:ext>
              </a:extLst>
            </p:cNvPr>
            <p:cNvGrpSpPr/>
            <p:nvPr userDrawn="1"/>
          </p:nvGrpSpPr>
          <p:grpSpPr>
            <a:xfrm>
              <a:off x="177629" y="4491478"/>
              <a:ext cx="301769" cy="301769"/>
              <a:chOff x="177629" y="4485128"/>
              <a:chExt cx="301769" cy="301769"/>
            </a:xfrm>
          </p:grpSpPr>
          <p:sp>
            <p:nvSpPr>
              <p:cNvPr id="195" name="Oval 194">
                <a:extLst>
                  <a:ext uri="{FF2B5EF4-FFF2-40B4-BE49-F238E27FC236}">
                    <a16:creationId xmlns:a16="http://schemas.microsoft.com/office/drawing/2014/main" id="{A53DBD0A-368E-A0FF-F28C-D20A7ED52A21}"/>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6" name="Oval 175">
                <a:extLst>
                  <a:ext uri="{FF2B5EF4-FFF2-40B4-BE49-F238E27FC236}">
                    <a16:creationId xmlns:a16="http://schemas.microsoft.com/office/drawing/2014/main" id="{7AD83492-28D3-6EE9-3E89-83AFC92038C7}"/>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200" name="Group 199">
              <a:extLst>
                <a:ext uri="{FF2B5EF4-FFF2-40B4-BE49-F238E27FC236}">
                  <a16:creationId xmlns:a16="http://schemas.microsoft.com/office/drawing/2014/main" id="{C9EDB943-E93A-7686-9CD5-D347DCEB1AD8}"/>
                </a:ext>
                <a:ext uri="{C183D7F6-B498-43B3-948B-1728B52AA6E4}">
                  <adec:decorative xmlns:adec="http://schemas.microsoft.com/office/drawing/2017/decorative" xmlns="" val="1"/>
                </a:ext>
              </a:extLst>
            </p:cNvPr>
            <p:cNvGrpSpPr/>
            <p:nvPr userDrawn="1"/>
          </p:nvGrpSpPr>
          <p:grpSpPr>
            <a:xfrm>
              <a:off x="3840437" y="1323744"/>
              <a:ext cx="301769" cy="301769"/>
              <a:chOff x="177629" y="4485128"/>
              <a:chExt cx="301769" cy="301769"/>
            </a:xfrm>
          </p:grpSpPr>
          <p:sp>
            <p:nvSpPr>
              <p:cNvPr id="201" name="Oval 200">
                <a:extLst>
                  <a:ext uri="{FF2B5EF4-FFF2-40B4-BE49-F238E27FC236}">
                    <a16:creationId xmlns:a16="http://schemas.microsoft.com/office/drawing/2014/main" id="{05C43D67-C50C-4951-E374-5EB39BCFEE06}"/>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2" name="Oval 201">
                <a:extLst>
                  <a:ext uri="{FF2B5EF4-FFF2-40B4-BE49-F238E27FC236}">
                    <a16:creationId xmlns:a16="http://schemas.microsoft.com/office/drawing/2014/main" id="{36F888DD-164A-602B-6C03-391875003382}"/>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203" name="Group 202">
              <a:extLst>
                <a:ext uri="{FF2B5EF4-FFF2-40B4-BE49-F238E27FC236}">
                  <a16:creationId xmlns:a16="http://schemas.microsoft.com/office/drawing/2014/main" id="{A1398F04-4324-B068-362D-86BADA8CE26F}"/>
                </a:ext>
                <a:ext uri="{C183D7F6-B498-43B3-948B-1728B52AA6E4}">
                  <adec:decorative xmlns:adec="http://schemas.microsoft.com/office/drawing/2017/decorative" xmlns="" val="1"/>
                </a:ext>
              </a:extLst>
            </p:cNvPr>
            <p:cNvGrpSpPr/>
            <p:nvPr userDrawn="1"/>
          </p:nvGrpSpPr>
          <p:grpSpPr>
            <a:xfrm>
              <a:off x="4866228" y="5817475"/>
              <a:ext cx="301769" cy="301769"/>
              <a:chOff x="177629" y="4485128"/>
              <a:chExt cx="301769" cy="301769"/>
            </a:xfrm>
          </p:grpSpPr>
          <p:sp>
            <p:nvSpPr>
              <p:cNvPr id="204" name="Oval 203">
                <a:extLst>
                  <a:ext uri="{FF2B5EF4-FFF2-40B4-BE49-F238E27FC236}">
                    <a16:creationId xmlns:a16="http://schemas.microsoft.com/office/drawing/2014/main" id="{64313864-DCAC-8C56-BC93-C2E9D7175F28}"/>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5" name="Oval 204">
                <a:extLst>
                  <a:ext uri="{FF2B5EF4-FFF2-40B4-BE49-F238E27FC236}">
                    <a16:creationId xmlns:a16="http://schemas.microsoft.com/office/drawing/2014/main" id="{F2E03A96-264C-9B16-02A7-AB662FAF753B}"/>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206" name="Group 205">
              <a:extLst>
                <a:ext uri="{FF2B5EF4-FFF2-40B4-BE49-F238E27FC236}">
                  <a16:creationId xmlns:a16="http://schemas.microsoft.com/office/drawing/2014/main" id="{558FF337-DCBF-E18A-612C-6FAC8AA7FCF4}"/>
                </a:ext>
                <a:ext uri="{C183D7F6-B498-43B3-948B-1728B52AA6E4}">
                  <adec:decorative xmlns:adec="http://schemas.microsoft.com/office/drawing/2017/decorative" xmlns="" val="1"/>
                </a:ext>
              </a:extLst>
            </p:cNvPr>
            <p:cNvGrpSpPr/>
            <p:nvPr userDrawn="1"/>
          </p:nvGrpSpPr>
          <p:grpSpPr>
            <a:xfrm>
              <a:off x="8748446" y="2579010"/>
              <a:ext cx="301769" cy="301769"/>
              <a:chOff x="177629" y="4485128"/>
              <a:chExt cx="301769" cy="301769"/>
            </a:xfrm>
          </p:grpSpPr>
          <p:sp>
            <p:nvSpPr>
              <p:cNvPr id="207" name="Oval 206">
                <a:extLst>
                  <a:ext uri="{FF2B5EF4-FFF2-40B4-BE49-F238E27FC236}">
                    <a16:creationId xmlns:a16="http://schemas.microsoft.com/office/drawing/2014/main" id="{C7C00316-C72E-9B3C-82C8-DC629EB6B01E}"/>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8" name="Oval 207">
                <a:extLst>
                  <a:ext uri="{FF2B5EF4-FFF2-40B4-BE49-F238E27FC236}">
                    <a16:creationId xmlns:a16="http://schemas.microsoft.com/office/drawing/2014/main" id="{65D02F47-AFC8-498E-83E7-8CE50A21ABA7}"/>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209" name="Group 208">
              <a:extLst>
                <a:ext uri="{FF2B5EF4-FFF2-40B4-BE49-F238E27FC236}">
                  <a16:creationId xmlns:a16="http://schemas.microsoft.com/office/drawing/2014/main" id="{625E5C35-EC87-4623-6A74-C2C555578E47}"/>
                </a:ext>
                <a:ext uri="{C183D7F6-B498-43B3-948B-1728B52AA6E4}">
                  <adec:decorative xmlns:adec="http://schemas.microsoft.com/office/drawing/2017/decorative" xmlns="" val="1"/>
                </a:ext>
              </a:extLst>
            </p:cNvPr>
            <p:cNvGrpSpPr/>
            <p:nvPr userDrawn="1"/>
          </p:nvGrpSpPr>
          <p:grpSpPr>
            <a:xfrm>
              <a:off x="11277205" y="1774315"/>
              <a:ext cx="301769" cy="301769"/>
              <a:chOff x="177629" y="4485128"/>
              <a:chExt cx="301769" cy="301769"/>
            </a:xfrm>
          </p:grpSpPr>
          <p:sp>
            <p:nvSpPr>
              <p:cNvPr id="210" name="Oval 209">
                <a:extLst>
                  <a:ext uri="{FF2B5EF4-FFF2-40B4-BE49-F238E27FC236}">
                    <a16:creationId xmlns:a16="http://schemas.microsoft.com/office/drawing/2014/main" id="{83634796-B5E9-6A3D-F3ED-093E1E473DBD}"/>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1" name="Oval 210">
                <a:extLst>
                  <a:ext uri="{FF2B5EF4-FFF2-40B4-BE49-F238E27FC236}">
                    <a16:creationId xmlns:a16="http://schemas.microsoft.com/office/drawing/2014/main" id="{61D37696-FE84-D547-9323-A142EB361F1D}"/>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44" name="Oval 43">
              <a:extLst>
                <a:ext uri="{FF2B5EF4-FFF2-40B4-BE49-F238E27FC236}">
                  <a16:creationId xmlns:a16="http://schemas.microsoft.com/office/drawing/2014/main" id="{951AF843-DA06-6016-4B8C-21A2FCEBD190}"/>
                </a:ext>
                <a:ext uri="{C183D7F6-B498-43B3-948B-1728B52AA6E4}">
                  <adec:decorative xmlns:adec="http://schemas.microsoft.com/office/drawing/2017/decorative" xmlns="" val="1"/>
                </a:ext>
              </a:extLst>
            </p:cNvPr>
            <p:cNvSpPr/>
            <p:nvPr userDrawn="1"/>
          </p:nvSpPr>
          <p:spPr>
            <a:xfrm>
              <a:off x="1235858" y="1807123"/>
              <a:ext cx="185620" cy="18562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 name="Oval 44">
              <a:extLst>
                <a:ext uri="{FF2B5EF4-FFF2-40B4-BE49-F238E27FC236}">
                  <a16:creationId xmlns:a16="http://schemas.microsoft.com/office/drawing/2014/main" id="{8C4B75F1-72BF-3E5E-0873-D2DD25B5C228}"/>
                </a:ext>
                <a:ext uri="{C183D7F6-B498-43B3-948B-1728B52AA6E4}">
                  <adec:decorative xmlns:adec="http://schemas.microsoft.com/office/drawing/2017/decorative" xmlns="" val="1"/>
                </a:ext>
              </a:extLst>
            </p:cNvPr>
            <p:cNvSpPr/>
            <p:nvPr userDrawn="1"/>
          </p:nvSpPr>
          <p:spPr>
            <a:xfrm>
              <a:off x="6084045" y="3210780"/>
              <a:ext cx="185620" cy="18562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6" name="Oval 45">
              <a:extLst>
                <a:ext uri="{FF2B5EF4-FFF2-40B4-BE49-F238E27FC236}">
                  <a16:creationId xmlns:a16="http://schemas.microsoft.com/office/drawing/2014/main" id="{B2889E39-C57E-12AE-4D30-32EFAA08FEC4}"/>
                </a:ext>
                <a:ext uri="{C183D7F6-B498-43B3-948B-1728B52AA6E4}">
                  <adec:decorative xmlns:adec="http://schemas.microsoft.com/office/drawing/2017/decorative" xmlns="" val="1"/>
                </a:ext>
              </a:extLst>
            </p:cNvPr>
            <p:cNvSpPr/>
            <p:nvPr userDrawn="1"/>
          </p:nvSpPr>
          <p:spPr>
            <a:xfrm>
              <a:off x="10293387" y="5819412"/>
              <a:ext cx="185620" cy="18562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7" name="Oval 46">
              <a:extLst>
                <a:ext uri="{FF2B5EF4-FFF2-40B4-BE49-F238E27FC236}">
                  <a16:creationId xmlns:a16="http://schemas.microsoft.com/office/drawing/2014/main" id="{6F5C2B1A-E152-E79C-52FC-D79C44C8D117}"/>
                </a:ext>
                <a:ext uri="{C183D7F6-B498-43B3-948B-1728B52AA6E4}">
                  <adec:decorative xmlns:adec="http://schemas.microsoft.com/office/drawing/2017/decorative" xmlns="" val="1"/>
                </a:ext>
              </a:extLst>
            </p:cNvPr>
            <p:cNvSpPr/>
            <p:nvPr userDrawn="1"/>
          </p:nvSpPr>
          <p:spPr>
            <a:xfrm>
              <a:off x="2051341" y="5849417"/>
              <a:ext cx="185620" cy="18562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29377619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tx1">
                    <a:lumMod val="95000"/>
                    <a:lumOff val="5000"/>
                  </a:schemeClr>
                </a:solidFill>
              </a:defRPr>
            </a:lvl1pPr>
          </a:lstStyle>
          <a:p>
            <a:fld id="{B6362DDE-5EFE-4D6A-AD62-664744385D96}" type="slidenum">
              <a:rPr lang="en-CA" smtClean="0"/>
              <a:pPr/>
              <a:t>‹#›</a:t>
            </a:fld>
            <a:endParaRPr lang="en-CA"/>
          </a:p>
        </p:txBody>
      </p:sp>
      <p:sp>
        <p:nvSpPr>
          <p:cNvPr id="5" name="Table Placeholder 4"/>
          <p:cNvSpPr>
            <a:spLocks noGrp="1"/>
          </p:cNvSpPr>
          <p:nvPr>
            <p:ph type="tbl" sz="quarter" idx="11"/>
          </p:nvPr>
        </p:nvSpPr>
        <p:spPr>
          <a:xfrm>
            <a:off x="624421" y="1412776"/>
            <a:ext cx="10971772" cy="4454624"/>
          </a:xfrm>
        </p:spPr>
        <p:txBody>
          <a:bodyPr/>
          <a:lstStyle/>
          <a:p>
            <a:endParaRPr lang="en-CA"/>
          </a:p>
        </p:txBody>
      </p:sp>
      <p:sp>
        <p:nvSpPr>
          <p:cNvPr id="7" name="Title Placeholder 1">
            <a:extLst>
              <a:ext uri="{FF2B5EF4-FFF2-40B4-BE49-F238E27FC236}">
                <a16:creationId xmlns:a16="http://schemas.microsoft.com/office/drawing/2014/main" id="{B97CCEF6-37D3-7173-A261-71F3A7EF08F6}"/>
              </a:ext>
            </a:extLst>
          </p:cNvPr>
          <p:cNvSpPr>
            <a:spLocks noGrp="1"/>
          </p:cNvSpPr>
          <p:nvPr>
            <p:ph type="title"/>
          </p:nvPr>
        </p:nvSpPr>
        <p:spPr>
          <a:xfrm>
            <a:off x="927035" y="44624"/>
            <a:ext cx="10669157"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31024377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1785463-8724-46BF-86EB-40347ACB7C47}"/>
              </a:ext>
            </a:extLst>
          </p:cNvPr>
          <p:cNvSpPr>
            <a:spLocks noGrp="1"/>
          </p:cNvSpPr>
          <p:nvPr>
            <p:ph type="pic" sz="quarter" idx="13"/>
          </p:nvPr>
        </p:nvSpPr>
        <p:spPr>
          <a:xfrm>
            <a:off x="0" y="908050"/>
            <a:ext cx="3762207" cy="5949950"/>
          </a:xfrm>
          <a:custGeom>
            <a:avLst/>
            <a:gdLst>
              <a:gd name="connsiteX0" fmla="*/ 0 w 3762207"/>
              <a:gd name="connsiteY0" fmla="*/ 0 h 5949950"/>
              <a:gd name="connsiteX1" fmla="*/ 3762207 w 3762207"/>
              <a:gd name="connsiteY1" fmla="*/ 0 h 5949950"/>
              <a:gd name="connsiteX2" fmla="*/ 3762207 w 3762207"/>
              <a:gd name="connsiteY2" fmla="*/ 5949950 h 5949950"/>
              <a:gd name="connsiteX3" fmla="*/ 0 w 3762207"/>
              <a:gd name="connsiteY3" fmla="*/ 5949950 h 5949950"/>
            </a:gdLst>
            <a:ahLst/>
            <a:cxnLst>
              <a:cxn ang="0">
                <a:pos x="connsiteX0" y="connsiteY0"/>
              </a:cxn>
              <a:cxn ang="0">
                <a:pos x="connsiteX1" y="connsiteY1"/>
              </a:cxn>
              <a:cxn ang="0">
                <a:pos x="connsiteX2" y="connsiteY2"/>
              </a:cxn>
              <a:cxn ang="0">
                <a:pos x="connsiteX3" y="connsiteY3"/>
              </a:cxn>
            </a:cxnLst>
            <a:rect l="l" t="t" r="r" b="b"/>
            <a:pathLst>
              <a:path w="3762207" h="5949950">
                <a:moveTo>
                  <a:pt x="0" y="0"/>
                </a:moveTo>
                <a:lnTo>
                  <a:pt x="3762207" y="0"/>
                </a:lnTo>
                <a:lnTo>
                  <a:pt x="3762207" y="5949950"/>
                </a:lnTo>
                <a:lnTo>
                  <a:pt x="0" y="5949950"/>
                </a:lnTo>
                <a:close/>
              </a:path>
            </a:pathLst>
          </a:custGeom>
        </p:spPr>
        <p:txBody>
          <a:bodyPr wrap="square">
            <a:noAutofit/>
          </a:bodyPr>
          <a:lstStyle/>
          <a:p>
            <a:endParaRPr lang="en-IN"/>
          </a:p>
        </p:txBody>
      </p:sp>
      <p:sp>
        <p:nvSpPr>
          <p:cNvPr id="2" name="Title 1">
            <a:extLst>
              <a:ext uri="{FF2B5EF4-FFF2-40B4-BE49-F238E27FC236}">
                <a16:creationId xmlns:a16="http://schemas.microsoft.com/office/drawing/2014/main" id="{59041751-FCAE-4A0E-960B-75F53C1E38BA}"/>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07AC061D-3C4B-4A74-AFBD-845D6FA2BCE3}"/>
              </a:ext>
            </a:extLst>
          </p:cNvPr>
          <p:cNvSpPr>
            <a:spLocks noGrp="1"/>
          </p:cNvSpPr>
          <p:nvPr>
            <p:ph type="dt" sz="half" idx="10"/>
          </p:nvPr>
        </p:nvSpPr>
        <p:spPr/>
        <p:txBody>
          <a:bodyPr/>
          <a:lstStyle/>
          <a:p>
            <a:fld id="{19CC37E0-F8EF-4D58-A46B-48567CBEC246}" type="datetime1">
              <a:rPr lang="en-US" smtClean="0"/>
              <a:t>12/16/2024</a:t>
            </a:fld>
            <a:endParaRPr lang="en-US"/>
          </a:p>
        </p:txBody>
      </p:sp>
      <p:sp>
        <p:nvSpPr>
          <p:cNvPr id="4" name="Footer Placeholder 3">
            <a:extLst>
              <a:ext uri="{FF2B5EF4-FFF2-40B4-BE49-F238E27FC236}">
                <a16:creationId xmlns:a16="http://schemas.microsoft.com/office/drawing/2014/main" id="{FFC7F9C2-AD4D-4B9A-802F-0349C0A019B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8AA7035-22BC-4F2A-8431-20D7F89AA3A4}"/>
              </a:ext>
            </a:extLst>
          </p:cNvPr>
          <p:cNvSpPr>
            <a:spLocks noGrp="1"/>
          </p:cNvSpPr>
          <p:nvPr>
            <p:ph type="sldNum" sz="quarter" idx="12"/>
          </p:nvPr>
        </p:nvSpPr>
        <p:spPr/>
        <p:txBody>
          <a:bodyPr/>
          <a:lstStyle/>
          <a:p>
            <a:fld id="{FAC6F2D3-2E25-4B3A-B3CD-02A8CF87C7F6}" type="slidenum">
              <a:rPr lang="en-US" smtClean="0"/>
              <a:pPr/>
              <a:t>‹#›</a:t>
            </a:fld>
            <a:endParaRPr lang="en-US"/>
          </a:p>
        </p:txBody>
      </p:sp>
    </p:spTree>
    <p:extLst>
      <p:ext uri="{BB962C8B-B14F-4D97-AF65-F5344CB8AC3E}">
        <p14:creationId xmlns:p14="http://schemas.microsoft.com/office/powerpoint/2010/main" val="8309678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F5FB663-52EE-4738-BCF8-FEF18DFFDA70}"/>
              </a:ext>
            </a:extLst>
          </p:cNvPr>
          <p:cNvCxnSpPr>
            <a:cxnSpLocks/>
          </p:cNvCxnSpPr>
          <p:nvPr userDrawn="1"/>
        </p:nvCxnSpPr>
        <p:spPr>
          <a:xfrm>
            <a:off x="3456797" y="3295248"/>
            <a:ext cx="8735203" cy="0"/>
          </a:xfrm>
          <a:prstGeom prst="line">
            <a:avLst/>
          </a:prstGeom>
          <a:ln w="25400"/>
        </p:spPr>
        <p:style>
          <a:lnRef idx="1">
            <a:schemeClr val="accent2"/>
          </a:lnRef>
          <a:fillRef idx="0">
            <a:schemeClr val="accent2"/>
          </a:fillRef>
          <a:effectRef idx="0">
            <a:schemeClr val="accent2"/>
          </a:effectRef>
          <a:fontRef idx="minor">
            <a:schemeClr val="tx1"/>
          </a:fontRef>
        </p:style>
      </p:cxn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 y="0"/>
            <a:ext cx="12191996" cy="6857998"/>
          </a:xfrm>
          <a:prstGeom prst="rect">
            <a:avLst/>
          </a:prstGeom>
        </p:spPr>
      </p:pic>
      <p:sp>
        <p:nvSpPr>
          <p:cNvPr id="2" name="Title 1"/>
          <p:cNvSpPr>
            <a:spLocks noGrp="1"/>
          </p:cNvSpPr>
          <p:nvPr>
            <p:ph type="ctrTitle" hasCustomPrompt="1"/>
          </p:nvPr>
        </p:nvSpPr>
        <p:spPr>
          <a:xfrm>
            <a:off x="3407701" y="3429000"/>
            <a:ext cx="8160907" cy="936104"/>
          </a:xfrm>
        </p:spPr>
        <p:txBody>
          <a:bodyPr>
            <a:normAutofit/>
          </a:bodyPr>
          <a:lstStyle>
            <a:lvl1pPr algn="l">
              <a:defRPr sz="3600" baseline="0">
                <a:solidFill>
                  <a:schemeClr val="tx1"/>
                </a:solidFill>
              </a:defRPr>
            </a:lvl1pPr>
          </a:lstStyle>
          <a:p>
            <a:r>
              <a:rPr lang="en-US"/>
              <a:t>Presentation Title Goes </a:t>
            </a:r>
            <a:br>
              <a:rPr lang="en-US"/>
            </a:br>
            <a:r>
              <a:rPr lang="en-US"/>
              <a:t>Here</a:t>
            </a:r>
            <a:endParaRPr lang="en-CA"/>
          </a:p>
        </p:txBody>
      </p:sp>
      <p:sp>
        <p:nvSpPr>
          <p:cNvPr id="3" name="Subtitle 2"/>
          <p:cNvSpPr>
            <a:spLocks noGrp="1"/>
          </p:cNvSpPr>
          <p:nvPr>
            <p:ph type="subTitle" idx="1" hasCustomPrompt="1"/>
          </p:nvPr>
        </p:nvSpPr>
        <p:spPr>
          <a:xfrm>
            <a:off x="3407701" y="2780928"/>
            <a:ext cx="8160907" cy="432048"/>
          </a:xfrm>
        </p:spPr>
        <p:txBody>
          <a:bodyPr anchor="ctr">
            <a:normAutofit/>
          </a:bodyPr>
          <a:lstStyle>
            <a:lvl1pPr marL="0" indent="0" algn="l">
              <a:buNone/>
              <a:defRPr sz="2400" cap="all" baseline="0">
                <a:solidFill>
                  <a:srgbClr val="005FA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Date of presentation here</a:t>
            </a:r>
            <a:endParaRPr lang="en-CA"/>
          </a:p>
        </p:txBody>
      </p:sp>
      <p:sp>
        <p:nvSpPr>
          <p:cNvPr id="5" name="Rectangle 4"/>
          <p:cNvSpPr/>
          <p:nvPr userDrawn="1"/>
        </p:nvSpPr>
        <p:spPr>
          <a:xfrm>
            <a:off x="527381" y="-1096"/>
            <a:ext cx="384043"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Tree>
    <p:extLst>
      <p:ext uri="{BB962C8B-B14F-4D97-AF65-F5344CB8AC3E}">
        <p14:creationId xmlns:p14="http://schemas.microsoft.com/office/powerpoint/2010/main" val="9286881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52B4B01-D29A-49F1-A415-5050E16D56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7998"/>
          </a:xfrm>
          <a:prstGeom prst="rect">
            <a:avLst/>
          </a:prstGeom>
        </p:spPr>
      </p:pic>
      <p:cxnSp>
        <p:nvCxnSpPr>
          <p:cNvPr id="6" name="Straight Connector 5">
            <a:extLst>
              <a:ext uri="{FF2B5EF4-FFF2-40B4-BE49-F238E27FC236}">
                <a16:creationId xmlns:a16="http://schemas.microsoft.com/office/drawing/2014/main" id="{6F5FB663-52EE-4738-BCF8-FEF18DFFDA70}"/>
              </a:ext>
            </a:extLst>
          </p:cNvPr>
          <p:cNvCxnSpPr>
            <a:cxnSpLocks/>
          </p:cNvCxnSpPr>
          <p:nvPr userDrawn="1"/>
        </p:nvCxnSpPr>
        <p:spPr>
          <a:xfrm>
            <a:off x="3456797" y="3295248"/>
            <a:ext cx="8735203" cy="0"/>
          </a:xfrm>
          <a:prstGeom prst="line">
            <a:avLst/>
          </a:prstGeom>
          <a:ln w="25400"/>
        </p:spPr>
        <p:style>
          <a:lnRef idx="1">
            <a:schemeClr val="accent2"/>
          </a:lnRef>
          <a:fillRef idx="0">
            <a:schemeClr val="accent2"/>
          </a:fillRef>
          <a:effectRef idx="0">
            <a:schemeClr val="accent2"/>
          </a:effectRef>
          <a:fontRef idx="minor">
            <a:schemeClr val="tx1"/>
          </a:fontRef>
        </p:style>
      </p:cxnSp>
      <p:sp>
        <p:nvSpPr>
          <p:cNvPr id="2" name="Title 1"/>
          <p:cNvSpPr>
            <a:spLocks noGrp="1"/>
          </p:cNvSpPr>
          <p:nvPr>
            <p:ph type="ctrTitle" hasCustomPrompt="1"/>
          </p:nvPr>
        </p:nvSpPr>
        <p:spPr>
          <a:xfrm>
            <a:off x="3407701" y="3429000"/>
            <a:ext cx="8160907" cy="936104"/>
          </a:xfrm>
        </p:spPr>
        <p:txBody>
          <a:bodyPr>
            <a:normAutofit/>
          </a:bodyPr>
          <a:lstStyle>
            <a:lvl1pPr algn="l">
              <a:defRPr sz="3600" baseline="0">
                <a:solidFill>
                  <a:schemeClr val="tx1"/>
                </a:solidFill>
              </a:defRPr>
            </a:lvl1pPr>
          </a:lstStyle>
          <a:p>
            <a:r>
              <a:rPr lang="en-US"/>
              <a:t>Presentation Title Goes </a:t>
            </a:r>
            <a:br>
              <a:rPr lang="en-US"/>
            </a:br>
            <a:r>
              <a:rPr lang="en-US"/>
              <a:t>Here</a:t>
            </a:r>
            <a:endParaRPr lang="en-CA"/>
          </a:p>
        </p:txBody>
      </p:sp>
      <p:sp>
        <p:nvSpPr>
          <p:cNvPr id="3" name="Subtitle 2"/>
          <p:cNvSpPr>
            <a:spLocks noGrp="1"/>
          </p:cNvSpPr>
          <p:nvPr>
            <p:ph type="subTitle" idx="1" hasCustomPrompt="1"/>
          </p:nvPr>
        </p:nvSpPr>
        <p:spPr>
          <a:xfrm>
            <a:off x="3407701" y="2780928"/>
            <a:ext cx="8160907" cy="432048"/>
          </a:xfrm>
        </p:spPr>
        <p:txBody>
          <a:bodyPr anchor="ctr">
            <a:normAutofit/>
          </a:bodyPr>
          <a:lstStyle>
            <a:lvl1pPr marL="0" indent="0" algn="l">
              <a:buNone/>
              <a:defRPr sz="2400" cap="all" baseline="0">
                <a:solidFill>
                  <a:srgbClr val="005FA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Date of presentation here</a:t>
            </a:r>
            <a:endParaRPr lang="en-CA"/>
          </a:p>
        </p:txBody>
      </p:sp>
      <p:sp>
        <p:nvSpPr>
          <p:cNvPr id="5" name="Rectangle 4"/>
          <p:cNvSpPr/>
          <p:nvPr userDrawn="1"/>
        </p:nvSpPr>
        <p:spPr>
          <a:xfrm>
            <a:off x="527381" y="-1096"/>
            <a:ext cx="384043"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Tree>
    <p:extLst>
      <p:ext uri="{BB962C8B-B14F-4D97-AF65-F5344CB8AC3E}">
        <p14:creationId xmlns:p14="http://schemas.microsoft.com/office/powerpoint/2010/main" val="262208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3392" y="1412776"/>
            <a:ext cx="10972800" cy="4536504"/>
          </a:xfrm>
        </p:spPr>
        <p:txBody>
          <a:bodyPr/>
          <a:lstStyle>
            <a:lvl1pPr marL="0" indent="0">
              <a:buClr>
                <a:schemeClr val="bg1"/>
              </a:buClr>
              <a:buFont typeface="Arial" pitchFamily="34" charset="0"/>
              <a:buChar char="•"/>
              <a:tabLst/>
              <a:defRPr lang="en-US" sz="3000" kern="1200" cap="none" baseline="0" dirty="0" smtClean="0">
                <a:solidFill>
                  <a:schemeClr val="tx1">
                    <a:lumMod val="95000"/>
                    <a:lumOff val="5000"/>
                  </a:schemeClr>
                </a:solidFill>
                <a:latin typeface="+mj-lt"/>
                <a:ea typeface="+mn-ea"/>
                <a:cs typeface="+mn-cs"/>
              </a:defRPr>
            </a:lvl1pPr>
            <a:lvl2pPr marL="450850" indent="-276225">
              <a:buClr>
                <a:srgbClr val="005FAA"/>
              </a:buClr>
              <a:buFont typeface="Wingdings" pitchFamily="2" charset="2"/>
              <a:buChar char="§"/>
              <a:tabLst/>
              <a:defRPr>
                <a:latin typeface="+mj-lt"/>
              </a:defRPr>
            </a:lvl2pPr>
            <a:lvl3pPr marL="801688" indent="-317500">
              <a:buClr>
                <a:srgbClr val="005FAA"/>
              </a:buClr>
              <a:buFont typeface="Arial" pitchFamily="34" charset="0"/>
              <a:buChar char="•"/>
              <a:defRPr sz="2400">
                <a:latin typeface="+mj-lt"/>
              </a:defRPr>
            </a:lvl3pPr>
            <a:lvl4pPr marL="1169988" indent="-241300">
              <a:buClr>
                <a:srgbClr val="005FAA"/>
              </a:buClr>
              <a:buFont typeface="Corbel" pitchFamily="34" charset="0"/>
              <a:buChar char="–"/>
              <a:defRPr sz="2000">
                <a:latin typeface="+mj-lt"/>
              </a:defRPr>
            </a:lvl4pPr>
            <a:lvl5pPr marL="1612900" indent="-228600">
              <a:buClr>
                <a:srgbClr val="005FAA"/>
              </a:buClr>
              <a:buFont typeface="Arial" pitchFamily="34" charset="0"/>
              <a:buChar char="»"/>
              <a:defRPr sz="1800">
                <a:latin typeface="+mj-lt"/>
              </a:defRPr>
            </a:lvl5pPr>
            <a:lvl6pPr marL="2057400" indent="-228600">
              <a:buClr>
                <a:schemeClr val="accent6"/>
              </a:buClr>
              <a:buFont typeface="Calibri" pitchFamily="34" charset="0"/>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lvl1pPr>
              <a:defRPr baseline="0">
                <a:latin typeface="Calibri" pitchFamily="34" charset="0"/>
              </a:defRPr>
            </a:lvl1pPr>
          </a:lstStyle>
          <a:p>
            <a:r>
              <a:rPr lang="en-US"/>
              <a:t>Click to edit Master title style</a:t>
            </a:r>
            <a:endParaRPr lang="en-CA"/>
          </a:p>
        </p:txBody>
      </p:sp>
    </p:spTree>
    <p:extLst>
      <p:ext uri="{BB962C8B-B14F-4D97-AF65-F5344CB8AC3E}">
        <p14:creationId xmlns:p14="http://schemas.microsoft.com/office/powerpoint/2010/main" val="21761992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Chart Placeholder 3"/>
          <p:cNvSpPr>
            <a:spLocks noGrp="1"/>
          </p:cNvSpPr>
          <p:nvPr>
            <p:ph type="chart" sz="quarter" idx="10"/>
          </p:nvPr>
        </p:nvSpPr>
        <p:spPr>
          <a:xfrm>
            <a:off x="624087" y="1412776"/>
            <a:ext cx="11040533" cy="4320480"/>
          </a:xfrm>
        </p:spPr>
        <p:txBody>
          <a:bodyPr/>
          <a:lstStyle/>
          <a:p>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41734296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lvl1pPr>
              <a:defRPr>
                <a:solidFill>
                  <a:schemeClr val="tx1">
                    <a:lumMod val="95000"/>
                    <a:lumOff val="5000"/>
                  </a:schemeClr>
                </a:solidFill>
              </a:defRPr>
            </a:lvl1pPr>
          </a:lstStyle>
          <a:p>
            <a:fld id="{B6362DDE-5EFE-4D6A-AD62-664744385D96}" type="slidenum">
              <a:rPr lang="en-CA" smtClean="0"/>
              <a:pPr/>
              <a:t>‹#›</a:t>
            </a:fld>
            <a:endParaRPr lang="en-CA"/>
          </a:p>
        </p:txBody>
      </p:sp>
      <p:sp>
        <p:nvSpPr>
          <p:cNvPr id="5" name="Table Placeholder 4"/>
          <p:cNvSpPr>
            <a:spLocks noGrp="1"/>
          </p:cNvSpPr>
          <p:nvPr>
            <p:ph type="tbl" sz="quarter" idx="11"/>
          </p:nvPr>
        </p:nvSpPr>
        <p:spPr>
          <a:xfrm>
            <a:off x="624419" y="1412776"/>
            <a:ext cx="11040533" cy="3960440"/>
          </a:xfrm>
        </p:spPr>
        <p:txBody>
          <a:bodyPr/>
          <a:lstStyle/>
          <a:p>
            <a:endParaRPr lang="en-CA"/>
          </a:p>
        </p:txBody>
      </p:sp>
    </p:spTree>
    <p:extLst>
      <p:ext uri="{BB962C8B-B14F-4D97-AF65-F5344CB8AC3E}">
        <p14:creationId xmlns:p14="http://schemas.microsoft.com/office/powerpoint/2010/main" val="29351028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NSP 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p>
            <a:fld id="{B6362DDE-5EFE-4D6A-AD62-664744385D96}" type="slidenum">
              <a:rPr lang="en-CA" smtClean="0"/>
              <a:pPr/>
              <a:t>‹#›</a:t>
            </a:fld>
            <a:endParaRPr lang="en-CA"/>
          </a:p>
        </p:txBody>
      </p:sp>
      <p:sp>
        <p:nvSpPr>
          <p:cNvPr id="6" name="Picture Placeholder 5"/>
          <p:cNvSpPr>
            <a:spLocks noGrp="1"/>
          </p:cNvSpPr>
          <p:nvPr>
            <p:ph type="pic" sz="quarter" idx="11"/>
          </p:nvPr>
        </p:nvSpPr>
        <p:spPr>
          <a:xfrm>
            <a:off x="6864085" y="1413322"/>
            <a:ext cx="4608248" cy="4392488"/>
          </a:xfrm>
          <a:noFill/>
          <a:ln>
            <a:solidFill>
              <a:srgbClr val="005FAA"/>
            </a:solidFill>
          </a:ln>
        </p:spPr>
        <p:txBody>
          <a:bodyPr/>
          <a:lstStyle>
            <a:lvl1pPr marL="87313" indent="-87313">
              <a:defRPr/>
            </a:lvl1pPr>
          </a:lstStyle>
          <a:p>
            <a:r>
              <a:rPr lang="en-US"/>
              <a:t>Click icon to add picture</a:t>
            </a:r>
            <a:endParaRPr lang="en-CA"/>
          </a:p>
        </p:txBody>
      </p:sp>
      <p:sp>
        <p:nvSpPr>
          <p:cNvPr id="8" name="Text Placeholder 7"/>
          <p:cNvSpPr>
            <a:spLocks noGrp="1"/>
          </p:cNvSpPr>
          <p:nvPr>
            <p:ph type="body" sz="quarter" idx="12" hasCustomPrompt="1"/>
          </p:nvPr>
        </p:nvSpPr>
        <p:spPr>
          <a:xfrm>
            <a:off x="623392" y="1412776"/>
            <a:ext cx="5472608" cy="4392488"/>
          </a:xfrm>
        </p:spPr>
        <p:txBody>
          <a:bodyPr/>
          <a:lstStyle>
            <a:lvl1pPr marL="0" indent="0">
              <a:buFont typeface="Arial" pitchFamily="34" charset="0"/>
              <a:buNone/>
              <a:tabLst/>
              <a:defRPr sz="3000" cap="none" baseline="0">
                <a:solidFill>
                  <a:schemeClr val="tx1">
                    <a:lumMod val="95000"/>
                    <a:lumOff val="5000"/>
                  </a:schemeClr>
                </a:solidFill>
              </a:defRPr>
            </a:lvl1pPr>
            <a:lvl2pPr marL="450850" indent="-276225">
              <a:buClr>
                <a:srgbClr val="005FAA"/>
              </a:buClr>
              <a:buFont typeface="Wingdings" pitchFamily="2" charset="2"/>
              <a:buChar char="§"/>
              <a:defRPr sz="2400"/>
            </a:lvl2pPr>
            <a:lvl3pPr marL="714375" indent="-176213">
              <a:buClr>
                <a:srgbClr val="005FAA"/>
              </a:buClr>
              <a:buFont typeface="Arial" pitchFamily="34" charset="0"/>
              <a:buChar char="•"/>
              <a:defRPr sz="2000"/>
            </a:lvl3pPr>
            <a:lvl4pPr>
              <a:buClr>
                <a:srgbClr val="005FAA"/>
              </a:buClr>
              <a:defRPr sz="1800"/>
            </a:lvl4pPr>
            <a:lvl5pPr>
              <a:buClr>
                <a:srgbClr val="005FAA"/>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US"/>
          </a:p>
        </p:txBody>
      </p:sp>
    </p:spTree>
    <p:extLst>
      <p:ext uri="{BB962C8B-B14F-4D97-AF65-F5344CB8AC3E}">
        <p14:creationId xmlns:p14="http://schemas.microsoft.com/office/powerpoint/2010/main" val="31331212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p>
            <a:fld id="{B6362DDE-5EFE-4D6A-AD62-664744385D96}" type="slidenum">
              <a:rPr lang="en-CA" smtClean="0"/>
              <a:pPr/>
              <a:t>‹#›</a:t>
            </a:fld>
            <a:endParaRPr lang="en-CA"/>
          </a:p>
        </p:txBody>
      </p:sp>
      <p:sp>
        <p:nvSpPr>
          <p:cNvPr id="7" name="Text Placeholder 6"/>
          <p:cNvSpPr>
            <a:spLocks noGrp="1"/>
          </p:cNvSpPr>
          <p:nvPr>
            <p:ph type="body" sz="quarter" idx="11" hasCustomPrompt="1"/>
          </p:nvPr>
        </p:nvSpPr>
        <p:spPr>
          <a:xfrm>
            <a:off x="624419" y="1412776"/>
            <a:ext cx="11040533" cy="4320480"/>
          </a:xfrm>
        </p:spPr>
        <p:txBody>
          <a:bodyPr/>
          <a:lstStyle>
            <a:lvl1pPr>
              <a:defRPr sz="3000" cap="none" baseline="0">
                <a:solidFill>
                  <a:schemeClr val="bg1">
                    <a:lumMod val="50000"/>
                  </a:schemeClr>
                </a:solidFill>
              </a:defRPr>
            </a:lvl1pPr>
            <a:lvl2pPr marL="450850" indent="-263525">
              <a:buClr>
                <a:srgbClr val="005FAA"/>
              </a:buClr>
              <a:buFont typeface="Wingdings" pitchFamily="2" charset="2"/>
              <a:buChar char="§"/>
              <a:defRPr sz="2800" baseline="0">
                <a:solidFill>
                  <a:schemeClr val="tx1"/>
                </a:solidFill>
              </a:defRPr>
            </a:lvl2pPr>
            <a:lvl3pPr marL="717550" indent="-228600">
              <a:buFont typeface="Arial" pitchFamily="34" charset="0"/>
              <a:buChar char="•"/>
              <a:defRPr sz="2400" baseline="0">
                <a:solidFill>
                  <a:schemeClr val="tx1"/>
                </a:solidFill>
              </a:defRPr>
            </a:lvl3pPr>
            <a:lvl4pPr>
              <a:buFont typeface="Corbel" pitchFamily="34" charset="0"/>
              <a:buChar char="–"/>
              <a:defRPr lang="en-US" sz="2000" baseline="0" dirty="0" smtClean="0">
                <a:solidFill>
                  <a:schemeClr val="tx1"/>
                </a:solidFill>
              </a:defRPr>
            </a:lvl4pPr>
            <a:lvl5pPr>
              <a:buFont typeface="Arial" pitchFamily="34" charset="0"/>
              <a:buChar char="»"/>
              <a:defRPr sz="1600"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Tree>
    <p:extLst>
      <p:ext uri="{BB962C8B-B14F-4D97-AF65-F5344CB8AC3E}">
        <p14:creationId xmlns:p14="http://schemas.microsoft.com/office/powerpoint/2010/main" val="8288789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5" name="Slide Number Placeholder 4"/>
          <p:cNvSpPr>
            <a:spLocks noGrp="1"/>
          </p:cNvSpPr>
          <p:nvPr>
            <p:ph type="sldNum" sz="quarter" idx="12"/>
          </p:nvPr>
        </p:nvSpPr>
        <p:spPr/>
        <p:txBody>
          <a:bodyPr/>
          <a:lstStyle/>
          <a:p>
            <a:fld id="{316606D5-A87C-4FD8-864B-AE5EA5CA2F96}" type="slidenum">
              <a:rPr lang="en-CA" smtClean="0"/>
              <a:pPr/>
              <a:t>‹#›</a:t>
            </a:fld>
            <a:endParaRPr lang="en-CA"/>
          </a:p>
        </p:txBody>
      </p:sp>
      <p:sp>
        <p:nvSpPr>
          <p:cNvPr id="7" name="Table Placeholder 6"/>
          <p:cNvSpPr>
            <a:spLocks noGrp="1"/>
          </p:cNvSpPr>
          <p:nvPr>
            <p:ph type="tbl" sz="quarter" idx="13"/>
          </p:nvPr>
        </p:nvSpPr>
        <p:spPr>
          <a:xfrm>
            <a:off x="623393" y="1412776"/>
            <a:ext cx="10752667" cy="4032448"/>
          </a:xfrm>
        </p:spPr>
        <p:txBody>
          <a:bodyPr/>
          <a:lstStyle/>
          <a:p>
            <a:endParaRPr lang="en-CA"/>
          </a:p>
        </p:txBody>
      </p:sp>
    </p:spTree>
    <p:extLst>
      <p:ext uri="{BB962C8B-B14F-4D97-AF65-F5344CB8AC3E}">
        <p14:creationId xmlns:p14="http://schemas.microsoft.com/office/powerpoint/2010/main" val="3750376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23392" y="1412776"/>
            <a:ext cx="10972800" cy="4536504"/>
          </a:xfrm>
        </p:spPr>
        <p:txBody>
          <a:bodyPr/>
          <a:lstStyle>
            <a:lvl1pPr marL="0" indent="0">
              <a:buClr>
                <a:schemeClr val="bg1"/>
              </a:buClr>
              <a:buFont typeface="Arial" pitchFamily="34" charset="0"/>
              <a:buChar char="•"/>
              <a:tabLst/>
              <a:defRPr lang="en-US" sz="3000" kern="1200" cap="none" baseline="0" dirty="0" smtClean="0">
                <a:solidFill>
                  <a:schemeClr val="tx1">
                    <a:lumMod val="95000"/>
                    <a:lumOff val="5000"/>
                  </a:schemeClr>
                </a:solidFill>
                <a:latin typeface="+mj-lt"/>
                <a:ea typeface="+mn-ea"/>
                <a:cs typeface="+mn-cs"/>
              </a:defRPr>
            </a:lvl1pPr>
            <a:lvl2pPr marL="450850" indent="-276225">
              <a:buClr>
                <a:srgbClr val="005FAA"/>
              </a:buClr>
              <a:buFont typeface="Wingdings" pitchFamily="2" charset="2"/>
              <a:buChar char="§"/>
              <a:tabLst/>
              <a:defRPr>
                <a:latin typeface="+mj-lt"/>
              </a:defRPr>
            </a:lvl2pPr>
            <a:lvl3pPr marL="801688" indent="-317500">
              <a:buClr>
                <a:srgbClr val="005FAA"/>
              </a:buClr>
              <a:buFont typeface="Arial" pitchFamily="34" charset="0"/>
              <a:buChar char="•"/>
              <a:defRPr sz="2400">
                <a:latin typeface="+mj-lt"/>
              </a:defRPr>
            </a:lvl3pPr>
            <a:lvl4pPr marL="1169988" indent="-241300">
              <a:buClr>
                <a:srgbClr val="005FAA"/>
              </a:buClr>
              <a:buFont typeface="Corbel" pitchFamily="34" charset="0"/>
              <a:buChar char="–"/>
              <a:defRPr sz="2000">
                <a:latin typeface="+mj-lt"/>
              </a:defRPr>
            </a:lvl4pPr>
            <a:lvl5pPr marL="1612900" indent="-228600">
              <a:buClr>
                <a:srgbClr val="005FAA"/>
              </a:buClr>
              <a:buFont typeface="Arial" pitchFamily="34" charset="0"/>
              <a:buChar char="»"/>
              <a:defRPr sz="1800">
                <a:latin typeface="+mj-lt"/>
              </a:defRPr>
            </a:lvl5pPr>
            <a:lvl6pPr marL="2057400" indent="-228600">
              <a:buClr>
                <a:schemeClr val="accent6"/>
              </a:buClr>
              <a:buFont typeface="Calibri" pitchFamily="34" charset="0"/>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623392" y="44624"/>
            <a:ext cx="10959008" cy="980728"/>
          </a:xfrm>
          <a:prstGeom prst="rect">
            <a:avLst/>
          </a:prstGeom>
        </p:spPr>
        <p:txBody>
          <a:bodyPr vert="horz" lIns="91440" tIns="45720" rIns="91440" bIns="45720" rtlCol="0" anchor="ctr">
            <a:normAutofit/>
          </a:bodyPr>
          <a:lstStyle>
            <a:lvl1pPr>
              <a:defRPr baseline="0">
                <a:latin typeface="Calibri" pitchFamily="34" charset="0"/>
              </a:defRPr>
            </a:lvl1pPr>
          </a:lstStyle>
          <a:p>
            <a:r>
              <a:rPr lang="en-US"/>
              <a:t>Click to edit Master title style</a:t>
            </a:r>
            <a:endParaRPr lang="en-CA"/>
          </a:p>
        </p:txBody>
      </p:sp>
    </p:spTree>
    <p:extLst>
      <p:ext uri="{BB962C8B-B14F-4D97-AF65-F5344CB8AC3E}">
        <p14:creationId xmlns:p14="http://schemas.microsoft.com/office/powerpoint/2010/main" val="1279557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SP Text and Picture">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F60A48EB-42B9-EB5B-788B-331C350FEE79}"/>
              </a:ext>
            </a:extLst>
          </p:cNvPr>
          <p:cNvSpPr>
            <a:spLocks noGrp="1"/>
          </p:cNvSpPr>
          <p:nvPr>
            <p:ph idx="1"/>
          </p:nvPr>
        </p:nvSpPr>
        <p:spPr>
          <a:xfrm>
            <a:off x="623392" y="1412776"/>
            <a:ext cx="5472608" cy="4536504"/>
          </a:xfrm>
        </p:spPr>
        <p:txBody>
          <a:bodyPr>
            <a:normAutofit/>
          </a:bodyPr>
          <a:lstStyle>
            <a:lvl1pPr marL="0" indent="0">
              <a:buClr>
                <a:schemeClr val="bg1"/>
              </a:buClr>
              <a:buFont typeface="Arial" pitchFamily="34" charset="0"/>
              <a:buChar char="•"/>
              <a:tabLst/>
              <a:defRPr lang="en-US" sz="2133" kern="1200" cap="none" baseline="0" dirty="0" smtClean="0">
                <a:solidFill>
                  <a:schemeClr val="tx1">
                    <a:lumMod val="95000"/>
                    <a:lumOff val="5000"/>
                  </a:schemeClr>
                </a:solidFill>
                <a:latin typeface="+mn-lt"/>
                <a:ea typeface="+mn-ea"/>
                <a:cs typeface="+mn-cs"/>
              </a:defRPr>
            </a:lvl1pPr>
            <a:lvl2pPr marL="450839" indent="-276218">
              <a:buClr>
                <a:srgbClr val="005FAA"/>
              </a:buClr>
              <a:buSzPct val="75000"/>
              <a:buFont typeface="Wingdings" pitchFamily="2" charset="2"/>
              <a:buChar char="§"/>
              <a:tabLst/>
              <a:defRPr sz="2133">
                <a:latin typeface="+mn-lt"/>
              </a:defRPr>
            </a:lvl2pPr>
            <a:lvl3pPr marL="801668" indent="-317492">
              <a:buClr>
                <a:srgbClr val="005FAA"/>
              </a:buClr>
              <a:buFont typeface="Arial" pitchFamily="34" charset="0"/>
              <a:buChar char="•"/>
              <a:defRPr sz="2133">
                <a:latin typeface="+mn-lt"/>
              </a:defRPr>
            </a:lvl3pPr>
            <a:lvl4pPr marL="1169959" indent="-241294">
              <a:buClr>
                <a:srgbClr val="005FAA"/>
              </a:buClr>
              <a:buFont typeface="Corbel" pitchFamily="34" charset="0"/>
              <a:buChar char="–"/>
              <a:defRPr sz="2133">
                <a:latin typeface="+mn-lt"/>
              </a:defRPr>
            </a:lvl4pPr>
            <a:lvl5pPr marL="1612860" indent="-228594">
              <a:buClr>
                <a:srgbClr val="005FAA"/>
              </a:buClr>
              <a:buFont typeface="Arial" pitchFamily="34" charset="0"/>
              <a:buChar char="»"/>
              <a:defRPr sz="2133">
                <a:latin typeface="+mn-lt"/>
              </a:defRPr>
            </a:lvl5pPr>
            <a:lvl6pPr marL="2057349" indent="-228594">
              <a:buClr>
                <a:schemeClr val="accent6"/>
              </a:buClr>
              <a:buFont typeface="Calibri" pitchFamily="34" charset="0"/>
              <a:buChar char="»"/>
              <a:defRPr/>
            </a:lvl6pPr>
          </a:lstStyle>
          <a:p>
            <a:pPr lvl="0"/>
            <a:endParaRPr lang="en-CA"/>
          </a:p>
        </p:txBody>
      </p:sp>
      <p:sp>
        <p:nvSpPr>
          <p:cNvPr id="3" name="Slide Number Placeholder 2"/>
          <p:cNvSpPr>
            <a:spLocks noGrp="1"/>
          </p:cNvSpPr>
          <p:nvPr>
            <p:ph type="sldNum" sz="quarter" idx="10"/>
          </p:nvPr>
        </p:nvSpPr>
        <p:spPr/>
        <p:txBody>
          <a:bodyPr/>
          <a:lstStyle/>
          <a:p>
            <a:fld id="{B6362DDE-5EFE-4D6A-AD62-664744385D96}" type="slidenum">
              <a:rPr lang="en-CA" smtClean="0"/>
              <a:pPr/>
              <a:t>‹#›</a:t>
            </a:fld>
            <a:endParaRPr lang="en-CA"/>
          </a:p>
        </p:txBody>
      </p:sp>
      <p:sp>
        <p:nvSpPr>
          <p:cNvPr id="6" name="Picture Placeholder 5"/>
          <p:cNvSpPr>
            <a:spLocks noGrp="1"/>
          </p:cNvSpPr>
          <p:nvPr>
            <p:ph type="pic" sz="quarter" idx="11"/>
          </p:nvPr>
        </p:nvSpPr>
        <p:spPr>
          <a:xfrm>
            <a:off x="6409267" y="1413323"/>
            <a:ext cx="5173133" cy="4535957"/>
          </a:xfrm>
          <a:noFill/>
          <a:ln>
            <a:noFill/>
          </a:ln>
        </p:spPr>
        <p:txBody>
          <a:bodyPr>
            <a:normAutofit/>
          </a:bodyPr>
          <a:lstStyle>
            <a:lvl1pPr marL="87311" indent="-87311">
              <a:defRPr sz="2133">
                <a:latin typeface="+mn-lt"/>
              </a:defRPr>
            </a:lvl1pPr>
          </a:lstStyle>
          <a:p>
            <a:endParaRPr lang="en-CA"/>
          </a:p>
        </p:txBody>
      </p:sp>
      <p:sp>
        <p:nvSpPr>
          <p:cNvPr id="20" name="Title Placeholder 1">
            <a:extLst>
              <a:ext uri="{FF2B5EF4-FFF2-40B4-BE49-F238E27FC236}">
                <a16:creationId xmlns:a16="http://schemas.microsoft.com/office/drawing/2014/main" id="{078DB29E-324B-839A-7179-F749E040D7C3}"/>
              </a:ext>
            </a:extLst>
          </p:cNvPr>
          <p:cNvSpPr>
            <a:spLocks noGrp="1"/>
          </p:cNvSpPr>
          <p:nvPr>
            <p:ph type="title"/>
          </p:nvPr>
        </p:nvSpPr>
        <p:spPr>
          <a:xfrm>
            <a:off x="927035" y="44624"/>
            <a:ext cx="10669157"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23408795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_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1350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_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96104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7C03D-C54D-40F9-AE6B-95171A2610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E4DB319-1DBD-4158-A53E-69B8D62FFAA5}"/>
              </a:ext>
            </a:extLst>
          </p:cNvPr>
          <p:cNvSpPr>
            <a:spLocks noGrp="1"/>
          </p:cNvSpPr>
          <p:nvPr>
            <p:ph type="dt" sz="half" idx="10"/>
          </p:nvPr>
        </p:nvSpPr>
        <p:spPr/>
        <p:txBody>
          <a:bodyPr/>
          <a:lstStyle/>
          <a:p>
            <a:fld id="{959F822C-F838-414C-BE88-4C36BDF8A5E0}" type="datetimeFigureOut">
              <a:rPr lang="en-US" smtClean="0"/>
              <a:t>12/16/2024</a:t>
            </a:fld>
            <a:endParaRPr lang="en-US"/>
          </a:p>
        </p:txBody>
      </p:sp>
      <p:sp>
        <p:nvSpPr>
          <p:cNvPr id="4" name="Footer Placeholder 3">
            <a:extLst>
              <a:ext uri="{FF2B5EF4-FFF2-40B4-BE49-F238E27FC236}">
                <a16:creationId xmlns:a16="http://schemas.microsoft.com/office/drawing/2014/main" id="{C8DD8B8A-BE34-4A8E-84DB-6FB75CE4C7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D4E8CF-5B8A-42F4-ADE9-A70238546734}"/>
              </a:ext>
            </a:extLst>
          </p:cNvPr>
          <p:cNvSpPr>
            <a:spLocks noGrp="1"/>
          </p:cNvSpPr>
          <p:nvPr>
            <p:ph type="sldNum" sz="quarter" idx="12"/>
          </p:nvPr>
        </p:nvSpPr>
        <p:spPr/>
        <p:txBody>
          <a:bodyPr/>
          <a:lstStyle/>
          <a:p>
            <a:fld id="{DD35DBF2-A8CF-448E-B167-C826703D0B69}" type="slidenum">
              <a:rPr lang="en-US" smtClean="0"/>
              <a:t>‹#›</a:t>
            </a:fld>
            <a:endParaRPr lang="en-US"/>
          </a:p>
        </p:txBody>
      </p:sp>
    </p:spTree>
    <p:extLst>
      <p:ext uri="{BB962C8B-B14F-4D97-AF65-F5344CB8AC3E}">
        <p14:creationId xmlns:p14="http://schemas.microsoft.com/office/powerpoint/2010/main" val="39140834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D916A-0142-4CBF-9FF3-87D46F07F942}"/>
              </a:ext>
            </a:extLst>
          </p:cNvPr>
          <p:cNvSpPr>
            <a:spLocks noGrp="1"/>
          </p:cNvSpPr>
          <p:nvPr>
            <p:ph type="title" hasCustomPrompt="1"/>
          </p:nvPr>
        </p:nvSpPr>
        <p:spPr>
          <a:xfrm>
            <a:off x="3194755" y="365125"/>
            <a:ext cx="8159044" cy="1325563"/>
          </a:xfrm>
        </p:spPr>
        <p:txBody>
          <a:bodyPr/>
          <a:lstStyle>
            <a:lvl1pPr>
              <a:defRPr b="0">
                <a:latin typeface="+mn-lt"/>
              </a:defRPr>
            </a:lvl1pPr>
          </a:lstStyle>
          <a:p>
            <a:r>
              <a:rPr lang="en-US"/>
              <a:t>Agenda</a:t>
            </a:r>
          </a:p>
        </p:txBody>
      </p:sp>
      <p:sp>
        <p:nvSpPr>
          <p:cNvPr id="3" name="Content Placeholder 2">
            <a:extLst>
              <a:ext uri="{FF2B5EF4-FFF2-40B4-BE49-F238E27FC236}">
                <a16:creationId xmlns:a16="http://schemas.microsoft.com/office/drawing/2014/main" id="{11D43BD9-CD0F-4161-8F28-DC56F8AF1F5B}"/>
              </a:ext>
            </a:extLst>
          </p:cNvPr>
          <p:cNvSpPr>
            <a:spLocks noGrp="1"/>
          </p:cNvSpPr>
          <p:nvPr>
            <p:ph idx="1"/>
          </p:nvPr>
        </p:nvSpPr>
        <p:spPr>
          <a:xfrm>
            <a:off x="3194755" y="1825625"/>
            <a:ext cx="8159044"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53C1BE9-6E15-4961-9218-55A6ACE94E7E}"/>
              </a:ext>
            </a:extLst>
          </p:cNvPr>
          <p:cNvSpPr>
            <a:spLocks noGrp="1"/>
          </p:cNvSpPr>
          <p:nvPr>
            <p:ph type="sldNum" sz="quarter" idx="12"/>
          </p:nvPr>
        </p:nvSpPr>
        <p:spPr/>
        <p:txBody>
          <a:bodyPr/>
          <a:lstStyle/>
          <a:p>
            <a:fld id="{28EB177B-4CD5-47EA-A348-D97FC37CDF05}" type="slidenum">
              <a:rPr lang="en-US" smtClean="0"/>
              <a:t>‹#›</a:t>
            </a:fld>
            <a:endParaRPr lang="en-US"/>
          </a:p>
        </p:txBody>
      </p:sp>
    </p:spTree>
    <p:extLst>
      <p:ext uri="{BB962C8B-B14F-4D97-AF65-F5344CB8AC3E}">
        <p14:creationId xmlns:p14="http://schemas.microsoft.com/office/powerpoint/2010/main" val="15529539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hart">
    <p:spTree>
      <p:nvGrpSpPr>
        <p:cNvPr id="1" name=""/>
        <p:cNvGrpSpPr/>
        <p:nvPr/>
      </p:nvGrpSpPr>
      <p:grpSpPr>
        <a:xfrm>
          <a:off x="0" y="0"/>
          <a:ext cx="0" cy="0"/>
          <a:chOff x="0" y="0"/>
          <a:chExt cx="0" cy="0"/>
        </a:xfrm>
      </p:grpSpPr>
      <p:sp>
        <p:nvSpPr>
          <p:cNvPr id="4" name="Chart Placeholder 3"/>
          <p:cNvSpPr>
            <a:spLocks noGrp="1"/>
          </p:cNvSpPr>
          <p:nvPr>
            <p:ph type="chart" sz="quarter" idx="10"/>
          </p:nvPr>
        </p:nvSpPr>
        <p:spPr>
          <a:xfrm>
            <a:off x="624087" y="1412776"/>
            <a:ext cx="11040533" cy="4320480"/>
          </a:xfrm>
        </p:spPr>
        <p:txBody>
          <a:bodyPr/>
          <a:lstStyle/>
          <a:p>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9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35246248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Slide Number Placeholder 2"/>
          <p:cNvSpPr>
            <a:spLocks noGrp="1"/>
          </p:cNvSpPr>
          <p:nvPr>
            <p:ph type="sldNum" sz="quarter" idx="10"/>
          </p:nvPr>
        </p:nvSpPr>
        <p:spPr/>
        <p:txBody>
          <a:bodyPr/>
          <a:lstStyle>
            <a:lvl1pPr>
              <a:defRPr>
                <a:solidFill>
                  <a:schemeClr val="tx1">
                    <a:lumMod val="95000"/>
                    <a:lumOff val="5000"/>
                  </a:schemeClr>
                </a:solidFill>
              </a:defRPr>
            </a:lvl1pPr>
          </a:lstStyle>
          <a:p>
            <a:fld id="{B6362DDE-5EFE-4D6A-AD62-664744385D96}" type="slidenum">
              <a:rPr lang="en-CA" smtClean="0"/>
              <a:pPr/>
              <a:t>‹#›</a:t>
            </a:fld>
            <a:endParaRPr lang="en-CA"/>
          </a:p>
        </p:txBody>
      </p:sp>
      <p:sp>
        <p:nvSpPr>
          <p:cNvPr id="5" name="Table Placeholder 4"/>
          <p:cNvSpPr>
            <a:spLocks noGrp="1"/>
          </p:cNvSpPr>
          <p:nvPr>
            <p:ph type="tbl" sz="quarter" idx="11"/>
          </p:nvPr>
        </p:nvSpPr>
        <p:spPr>
          <a:xfrm>
            <a:off x="624419" y="1412776"/>
            <a:ext cx="11040533" cy="3960440"/>
          </a:xfrm>
        </p:spPr>
        <p:txBody>
          <a:bodyPr/>
          <a:lstStyle/>
          <a:p>
            <a:endParaRPr lang="en-CA"/>
          </a:p>
        </p:txBody>
      </p:sp>
    </p:spTree>
    <p:extLst>
      <p:ext uri="{BB962C8B-B14F-4D97-AF65-F5344CB8AC3E}">
        <p14:creationId xmlns:p14="http://schemas.microsoft.com/office/powerpoint/2010/main" val="2448613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4" name="Chart Placeholder 3"/>
          <p:cNvSpPr>
            <a:spLocks noGrp="1"/>
          </p:cNvSpPr>
          <p:nvPr>
            <p:ph type="chart" sz="quarter" idx="10"/>
          </p:nvPr>
        </p:nvSpPr>
        <p:spPr>
          <a:xfrm>
            <a:off x="624087" y="1412776"/>
            <a:ext cx="11040533" cy="4320480"/>
          </a:xfrm>
        </p:spPr>
        <p:txBody>
          <a:bodyPr/>
          <a:lstStyle/>
          <a:p>
            <a:endParaRPr lang="en-CA"/>
          </a:p>
        </p:txBody>
      </p:sp>
      <p:sp>
        <p:nvSpPr>
          <p:cNvPr id="7"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lumMod val="95000"/>
                    <a:lumOff val="5000"/>
                  </a:schemeClr>
                </a:solidFill>
              </a:defRPr>
            </a:lvl1pPr>
          </a:lstStyle>
          <a:p>
            <a:fld id="{B6362DDE-5EFE-4D6A-AD62-664744385D96}" type="slidenum">
              <a:rPr lang="en-CA" smtClean="0"/>
              <a:pPr/>
              <a:t>‹#›</a:t>
            </a:fld>
            <a:endParaRPr lang="en-CA"/>
          </a:p>
        </p:txBody>
      </p:sp>
      <p:sp>
        <p:nvSpPr>
          <p:cNvPr id="5"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27281218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pSp>
        <p:nvGrpSpPr>
          <p:cNvPr id="108" name="Group 107">
            <a:extLst>
              <a:ext uri="{FF2B5EF4-FFF2-40B4-BE49-F238E27FC236}">
                <a16:creationId xmlns:a16="http://schemas.microsoft.com/office/drawing/2014/main" id="{31445678-5922-0D9E-6854-34CDDF535B9A}"/>
              </a:ext>
              <a:ext uri="{C183D7F6-B498-43B3-948B-1728B52AA6E4}">
                <adec:decorative xmlns:adec="http://schemas.microsoft.com/office/drawing/2017/decorative" xmlns="" val="1"/>
              </a:ext>
            </a:extLst>
          </p:cNvPr>
          <p:cNvGrpSpPr/>
          <p:nvPr userDrawn="1"/>
        </p:nvGrpSpPr>
        <p:grpSpPr>
          <a:xfrm>
            <a:off x="6350" y="1460413"/>
            <a:ext cx="12185650" cy="5364163"/>
            <a:chOff x="6350" y="1460413"/>
            <a:chExt cx="12185650" cy="5364163"/>
          </a:xfrm>
        </p:grpSpPr>
        <p:pic>
          <p:nvPicPr>
            <p:cNvPr id="55" name="Picture 54">
              <a:extLst>
                <a:ext uri="{FF2B5EF4-FFF2-40B4-BE49-F238E27FC236}">
                  <a16:creationId xmlns:a16="http://schemas.microsoft.com/office/drawing/2014/main" id="{EFBB3930-65BE-C67D-75F8-C29BCAC0BCF7}"/>
                </a:ext>
              </a:extLst>
            </p:cNvPr>
            <p:cNvPicPr>
              <a:picLocks noChangeAspect="1"/>
            </p:cNvPicPr>
            <p:nvPr userDrawn="1"/>
          </p:nvPicPr>
          <p:blipFill>
            <a:blip r:embed="rId2"/>
            <a:stretch>
              <a:fillRect/>
            </a:stretch>
          </p:blipFill>
          <p:spPr>
            <a:xfrm>
              <a:off x="6350" y="1460413"/>
              <a:ext cx="12185650" cy="4523556"/>
            </a:xfrm>
            <a:prstGeom prst="rect">
              <a:avLst/>
            </a:prstGeom>
          </p:spPr>
        </p:pic>
        <p:pic>
          <p:nvPicPr>
            <p:cNvPr id="20" name="Picture 19">
              <a:extLst>
                <a:ext uri="{FF2B5EF4-FFF2-40B4-BE49-F238E27FC236}">
                  <a16:creationId xmlns:a16="http://schemas.microsoft.com/office/drawing/2014/main" id="{266A9694-6EC0-EF34-47E7-7D6882C86446}"/>
                </a:ext>
              </a:extLst>
            </p:cNvPr>
            <p:cNvPicPr>
              <a:picLocks noChangeAspect="1"/>
            </p:cNvPicPr>
            <p:nvPr userDrawn="1"/>
          </p:nvPicPr>
          <p:blipFill rotWithShape="1">
            <a:blip r:embed="rId3"/>
            <a:srcRect r="2854"/>
            <a:stretch/>
          </p:blipFill>
          <p:spPr>
            <a:xfrm>
              <a:off x="1385366" y="1933400"/>
              <a:ext cx="10800284" cy="4891176"/>
            </a:xfrm>
            <a:prstGeom prst="rect">
              <a:avLst/>
            </a:prstGeom>
          </p:spPr>
        </p:pic>
      </p:grpSp>
      <p:sp>
        <p:nvSpPr>
          <p:cNvPr id="2" name="Title 1">
            <a:extLst>
              <a:ext uri="{FF2B5EF4-FFF2-40B4-BE49-F238E27FC236}">
                <a16:creationId xmlns:a16="http://schemas.microsoft.com/office/drawing/2014/main" id="{F7286A7E-ECC6-8B64-7478-CBE43FBDAAAA}"/>
              </a:ext>
              <a:ext uri="{C183D7F6-B498-43B3-948B-1728B52AA6E4}">
                <adec:decorative xmlns:adec="http://schemas.microsoft.com/office/drawing/2017/decorative" xmlns="" val="0"/>
              </a:ext>
            </a:extLst>
          </p:cNvPr>
          <p:cNvSpPr>
            <a:spLocks noGrp="1"/>
          </p:cNvSpPr>
          <p:nvPr userDrawn="1">
            <p:ph type="title" hasCustomPrompt="1"/>
          </p:nvPr>
        </p:nvSpPr>
        <p:spPr>
          <a:xfrm>
            <a:off x="838200" y="311861"/>
            <a:ext cx="10515600" cy="958251"/>
          </a:xfrm>
        </p:spPr>
        <p:txBody>
          <a:bodyPr>
            <a:normAutofit/>
          </a:bodyPr>
          <a:lstStyle>
            <a:lvl1pPr algn="ctr">
              <a:defRPr sz="6000" b="1" cap="all" baseline="0"/>
            </a:lvl1pPr>
          </a:lstStyle>
          <a:p>
            <a:r>
              <a:rPr lang="en-US" noProof="0"/>
              <a:t>Add title here</a:t>
            </a:r>
          </a:p>
        </p:txBody>
      </p:sp>
      <p:sp>
        <p:nvSpPr>
          <p:cNvPr id="5" name="Text Placeholder 5">
            <a:extLst>
              <a:ext uri="{FF2B5EF4-FFF2-40B4-BE49-F238E27FC236}">
                <a16:creationId xmlns:a16="http://schemas.microsoft.com/office/drawing/2014/main" id="{6C5FDC83-F05F-E2CC-B26D-0B062CC49973}"/>
              </a:ext>
            </a:extLst>
          </p:cNvPr>
          <p:cNvSpPr>
            <a:spLocks noGrp="1"/>
          </p:cNvSpPr>
          <p:nvPr>
            <p:ph type="body" sz="quarter" idx="51" hasCustomPrompt="1"/>
          </p:nvPr>
        </p:nvSpPr>
        <p:spPr>
          <a:xfrm>
            <a:off x="679175" y="3754892"/>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2" name="Text Placeholder 97">
            <a:extLst>
              <a:ext uri="{FF2B5EF4-FFF2-40B4-BE49-F238E27FC236}">
                <a16:creationId xmlns:a16="http://schemas.microsoft.com/office/drawing/2014/main" id="{9A27C53F-0D89-34D4-E4E8-175EBF1A1B73}"/>
              </a:ext>
            </a:extLst>
          </p:cNvPr>
          <p:cNvSpPr>
            <a:spLocks noGrp="1"/>
          </p:cNvSpPr>
          <p:nvPr userDrawn="1">
            <p:ph type="body" sz="quarter" idx="37" hasCustomPrompt="1"/>
          </p:nvPr>
        </p:nvSpPr>
        <p:spPr>
          <a:xfrm>
            <a:off x="390035" y="3477320"/>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86" name="Text Placeholder 61">
            <a:extLst>
              <a:ext uri="{FF2B5EF4-FFF2-40B4-BE49-F238E27FC236}">
                <a16:creationId xmlns:a16="http://schemas.microsoft.com/office/drawing/2014/main" id="{D33323FB-3657-DBF3-C660-8E53E914CD76}"/>
              </a:ext>
            </a:extLst>
          </p:cNvPr>
          <p:cNvSpPr>
            <a:spLocks noGrp="1"/>
          </p:cNvSpPr>
          <p:nvPr userDrawn="1">
            <p:ph type="body" sz="quarter" idx="23" hasCustomPrompt="1"/>
          </p:nvPr>
        </p:nvSpPr>
        <p:spPr>
          <a:xfrm>
            <a:off x="847719" y="4379822"/>
            <a:ext cx="1280160"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87" name="Text Placeholder 63">
            <a:extLst>
              <a:ext uri="{FF2B5EF4-FFF2-40B4-BE49-F238E27FC236}">
                <a16:creationId xmlns:a16="http://schemas.microsoft.com/office/drawing/2014/main" id="{EFB7B0D0-66A4-7017-E2C8-BFD66BD3AE13}"/>
              </a:ext>
            </a:extLst>
          </p:cNvPr>
          <p:cNvSpPr>
            <a:spLocks noGrp="1"/>
          </p:cNvSpPr>
          <p:nvPr userDrawn="1">
            <p:ph type="body" sz="quarter" idx="24" hasCustomPrompt="1"/>
          </p:nvPr>
        </p:nvSpPr>
        <p:spPr>
          <a:xfrm>
            <a:off x="847719" y="4867503"/>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6" name="Text Placeholder 5">
            <a:extLst>
              <a:ext uri="{FF2B5EF4-FFF2-40B4-BE49-F238E27FC236}">
                <a16:creationId xmlns:a16="http://schemas.microsoft.com/office/drawing/2014/main" id="{4642DFC3-40E7-73B0-2933-4E601A023BFC}"/>
              </a:ext>
            </a:extLst>
          </p:cNvPr>
          <p:cNvSpPr>
            <a:spLocks noGrp="1"/>
          </p:cNvSpPr>
          <p:nvPr userDrawn="1">
            <p:ph type="body" sz="quarter" idx="43" hasCustomPrompt="1"/>
          </p:nvPr>
        </p:nvSpPr>
        <p:spPr>
          <a:xfrm>
            <a:off x="1986839" y="1689617"/>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62" name="Text Placeholder 61">
            <a:extLst>
              <a:ext uri="{FF2B5EF4-FFF2-40B4-BE49-F238E27FC236}">
                <a16:creationId xmlns:a16="http://schemas.microsoft.com/office/drawing/2014/main" id="{ACF76DF4-511E-BCAD-24AA-1917D1893186}"/>
              </a:ext>
            </a:extLst>
          </p:cNvPr>
          <p:cNvSpPr>
            <a:spLocks noGrp="1"/>
          </p:cNvSpPr>
          <p:nvPr userDrawn="1">
            <p:ph type="body" sz="quarter" idx="11" hasCustomPrompt="1"/>
          </p:nvPr>
        </p:nvSpPr>
        <p:spPr>
          <a:xfrm>
            <a:off x="2156264" y="2304732"/>
            <a:ext cx="1280160"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64" name="Text Placeholder 63">
            <a:extLst>
              <a:ext uri="{FF2B5EF4-FFF2-40B4-BE49-F238E27FC236}">
                <a16:creationId xmlns:a16="http://schemas.microsoft.com/office/drawing/2014/main" id="{0844B068-8969-6321-4DD3-4767642367E2}"/>
              </a:ext>
            </a:extLst>
          </p:cNvPr>
          <p:cNvSpPr>
            <a:spLocks noGrp="1"/>
          </p:cNvSpPr>
          <p:nvPr userDrawn="1">
            <p:ph type="body" sz="quarter" idx="12" hasCustomPrompt="1"/>
          </p:nvPr>
        </p:nvSpPr>
        <p:spPr>
          <a:xfrm>
            <a:off x="2156264" y="2792413"/>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99" name="Text Placeholder 97">
            <a:extLst>
              <a:ext uri="{FF2B5EF4-FFF2-40B4-BE49-F238E27FC236}">
                <a16:creationId xmlns:a16="http://schemas.microsoft.com/office/drawing/2014/main" id="{DB29BEEB-8FD5-5346-B82F-8EAB6A747A29}"/>
              </a:ext>
            </a:extLst>
          </p:cNvPr>
          <p:cNvSpPr>
            <a:spLocks noGrp="1"/>
          </p:cNvSpPr>
          <p:nvPr userDrawn="1">
            <p:ph type="body" sz="quarter" idx="35" hasCustomPrompt="1"/>
          </p:nvPr>
        </p:nvSpPr>
        <p:spPr>
          <a:xfrm>
            <a:off x="3280120" y="2964580"/>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66" name="Text Placeholder 5">
            <a:extLst>
              <a:ext uri="{FF2B5EF4-FFF2-40B4-BE49-F238E27FC236}">
                <a16:creationId xmlns:a16="http://schemas.microsoft.com/office/drawing/2014/main" id="{85454582-ABBD-4964-8715-1EF2DFC1686A}"/>
              </a:ext>
            </a:extLst>
          </p:cNvPr>
          <p:cNvSpPr>
            <a:spLocks noGrp="1"/>
          </p:cNvSpPr>
          <p:nvPr>
            <p:ph type="body" sz="quarter" idx="57" hasCustomPrompt="1"/>
          </p:nvPr>
        </p:nvSpPr>
        <p:spPr>
          <a:xfrm>
            <a:off x="4159315" y="2413336"/>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0" name="Text Placeholder 97">
            <a:extLst>
              <a:ext uri="{FF2B5EF4-FFF2-40B4-BE49-F238E27FC236}">
                <a16:creationId xmlns:a16="http://schemas.microsoft.com/office/drawing/2014/main" id="{28877613-41C4-9119-BE28-5CAB258BF276}"/>
              </a:ext>
            </a:extLst>
          </p:cNvPr>
          <p:cNvSpPr>
            <a:spLocks noGrp="1"/>
          </p:cNvSpPr>
          <p:nvPr userDrawn="1">
            <p:ph type="body" sz="quarter" idx="36" hasCustomPrompt="1"/>
          </p:nvPr>
        </p:nvSpPr>
        <p:spPr>
          <a:xfrm>
            <a:off x="5450164" y="2104356"/>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69" name="Text Placeholder 61">
            <a:extLst>
              <a:ext uri="{FF2B5EF4-FFF2-40B4-BE49-F238E27FC236}">
                <a16:creationId xmlns:a16="http://schemas.microsoft.com/office/drawing/2014/main" id="{294539E2-59EE-DB6B-BA2A-518DE97D114B}"/>
              </a:ext>
            </a:extLst>
          </p:cNvPr>
          <p:cNvSpPr>
            <a:spLocks noGrp="1"/>
          </p:cNvSpPr>
          <p:nvPr userDrawn="1">
            <p:ph type="body" sz="quarter" idx="14" hasCustomPrompt="1"/>
          </p:nvPr>
        </p:nvSpPr>
        <p:spPr>
          <a:xfrm>
            <a:off x="4337915" y="3081612"/>
            <a:ext cx="1277962" cy="475432"/>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70" name="Text Placeholder 63">
            <a:extLst>
              <a:ext uri="{FF2B5EF4-FFF2-40B4-BE49-F238E27FC236}">
                <a16:creationId xmlns:a16="http://schemas.microsoft.com/office/drawing/2014/main" id="{26761B70-9720-A91A-9DE8-C71BB40499A4}"/>
              </a:ext>
            </a:extLst>
          </p:cNvPr>
          <p:cNvSpPr>
            <a:spLocks noGrp="1"/>
          </p:cNvSpPr>
          <p:nvPr userDrawn="1">
            <p:ph type="body" sz="quarter" idx="15" hasCustomPrompt="1"/>
          </p:nvPr>
        </p:nvSpPr>
        <p:spPr>
          <a:xfrm>
            <a:off x="4337915" y="3554052"/>
            <a:ext cx="1277962"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56" name="Text Placeholder 5">
            <a:extLst>
              <a:ext uri="{FF2B5EF4-FFF2-40B4-BE49-F238E27FC236}">
                <a16:creationId xmlns:a16="http://schemas.microsoft.com/office/drawing/2014/main" id="{FCE8B2AA-C2E9-5F8D-0EF1-A36A1966D279}"/>
              </a:ext>
            </a:extLst>
          </p:cNvPr>
          <p:cNvSpPr>
            <a:spLocks noGrp="1"/>
          </p:cNvSpPr>
          <p:nvPr>
            <p:ph type="body" sz="quarter" idx="52" hasCustomPrompt="1"/>
          </p:nvPr>
        </p:nvSpPr>
        <p:spPr>
          <a:xfrm>
            <a:off x="2772029" y="4868331"/>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3" name="Text Placeholder 97">
            <a:extLst>
              <a:ext uri="{FF2B5EF4-FFF2-40B4-BE49-F238E27FC236}">
                <a16:creationId xmlns:a16="http://schemas.microsoft.com/office/drawing/2014/main" id="{616D4056-5F98-5D42-8A8D-08560626E145}"/>
              </a:ext>
            </a:extLst>
          </p:cNvPr>
          <p:cNvSpPr>
            <a:spLocks noGrp="1"/>
          </p:cNvSpPr>
          <p:nvPr userDrawn="1">
            <p:ph type="body" sz="quarter" idx="38" hasCustomPrompt="1"/>
          </p:nvPr>
        </p:nvSpPr>
        <p:spPr>
          <a:xfrm>
            <a:off x="4070799" y="4546839"/>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89" name="Text Placeholder 61">
            <a:extLst>
              <a:ext uri="{FF2B5EF4-FFF2-40B4-BE49-F238E27FC236}">
                <a16:creationId xmlns:a16="http://schemas.microsoft.com/office/drawing/2014/main" id="{4F02E3FC-A398-A3E3-0ECA-A8A1C61ED4DA}"/>
              </a:ext>
            </a:extLst>
          </p:cNvPr>
          <p:cNvSpPr>
            <a:spLocks noGrp="1"/>
          </p:cNvSpPr>
          <p:nvPr userDrawn="1">
            <p:ph type="body" sz="quarter" idx="26" hasCustomPrompt="1"/>
          </p:nvPr>
        </p:nvSpPr>
        <p:spPr>
          <a:xfrm>
            <a:off x="2943701" y="5465548"/>
            <a:ext cx="1280160"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90" name="Text Placeholder 63">
            <a:extLst>
              <a:ext uri="{FF2B5EF4-FFF2-40B4-BE49-F238E27FC236}">
                <a16:creationId xmlns:a16="http://schemas.microsoft.com/office/drawing/2014/main" id="{AF627030-2DCF-9DA1-DB4E-EC8AA8265BEC}"/>
              </a:ext>
            </a:extLst>
          </p:cNvPr>
          <p:cNvSpPr>
            <a:spLocks noGrp="1"/>
          </p:cNvSpPr>
          <p:nvPr userDrawn="1">
            <p:ph type="body" sz="quarter" idx="27" hasCustomPrompt="1"/>
          </p:nvPr>
        </p:nvSpPr>
        <p:spPr>
          <a:xfrm>
            <a:off x="2943701" y="5953229"/>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57" name="Text Placeholder 5">
            <a:extLst>
              <a:ext uri="{FF2B5EF4-FFF2-40B4-BE49-F238E27FC236}">
                <a16:creationId xmlns:a16="http://schemas.microsoft.com/office/drawing/2014/main" id="{C4AF0805-0FC2-7B09-EA4F-BF7CE80CE69E}"/>
              </a:ext>
            </a:extLst>
          </p:cNvPr>
          <p:cNvSpPr>
            <a:spLocks noGrp="1"/>
          </p:cNvSpPr>
          <p:nvPr>
            <p:ph type="body" sz="quarter" idx="53" hasCustomPrompt="1"/>
          </p:nvPr>
        </p:nvSpPr>
        <p:spPr>
          <a:xfrm>
            <a:off x="5697529" y="4598571"/>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92" name="Text Placeholder 61">
            <a:extLst>
              <a:ext uri="{FF2B5EF4-FFF2-40B4-BE49-F238E27FC236}">
                <a16:creationId xmlns:a16="http://schemas.microsoft.com/office/drawing/2014/main" id="{11CD16D6-010B-3E00-E346-C449BE8A103F}"/>
              </a:ext>
            </a:extLst>
          </p:cNvPr>
          <p:cNvSpPr>
            <a:spLocks noGrp="1"/>
          </p:cNvSpPr>
          <p:nvPr userDrawn="1">
            <p:ph type="body" sz="quarter" idx="29" hasCustomPrompt="1"/>
          </p:nvPr>
        </p:nvSpPr>
        <p:spPr>
          <a:xfrm>
            <a:off x="5840980" y="5211225"/>
            <a:ext cx="1348182"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93" name="Text Placeholder 63">
            <a:extLst>
              <a:ext uri="{FF2B5EF4-FFF2-40B4-BE49-F238E27FC236}">
                <a16:creationId xmlns:a16="http://schemas.microsoft.com/office/drawing/2014/main" id="{60EAE46B-6724-AB6B-191E-6CCB8917DA70}"/>
              </a:ext>
            </a:extLst>
          </p:cNvPr>
          <p:cNvSpPr>
            <a:spLocks noGrp="1"/>
          </p:cNvSpPr>
          <p:nvPr userDrawn="1">
            <p:ph type="body" sz="quarter" idx="30" hasCustomPrompt="1"/>
          </p:nvPr>
        </p:nvSpPr>
        <p:spPr>
          <a:xfrm>
            <a:off x="5840980" y="5698906"/>
            <a:ext cx="1348182"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107" name="Text Placeholder 97">
            <a:extLst>
              <a:ext uri="{FF2B5EF4-FFF2-40B4-BE49-F238E27FC236}">
                <a16:creationId xmlns:a16="http://schemas.microsoft.com/office/drawing/2014/main" id="{C668B3C1-868A-2098-CD67-28AEB3250032}"/>
              </a:ext>
            </a:extLst>
          </p:cNvPr>
          <p:cNvSpPr>
            <a:spLocks noGrp="1"/>
          </p:cNvSpPr>
          <p:nvPr userDrawn="1">
            <p:ph type="body" sz="quarter" idx="42" hasCustomPrompt="1"/>
          </p:nvPr>
        </p:nvSpPr>
        <p:spPr>
          <a:xfrm>
            <a:off x="6971098" y="5809913"/>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65" name="Text Placeholder 5">
            <a:extLst>
              <a:ext uri="{FF2B5EF4-FFF2-40B4-BE49-F238E27FC236}">
                <a16:creationId xmlns:a16="http://schemas.microsoft.com/office/drawing/2014/main" id="{4BB22A85-B877-39A1-C018-64A3FEDCCC68}"/>
              </a:ext>
            </a:extLst>
          </p:cNvPr>
          <p:cNvSpPr>
            <a:spLocks noGrp="1"/>
          </p:cNvSpPr>
          <p:nvPr>
            <p:ph type="body" sz="quarter" idx="56" hasCustomPrompt="1"/>
          </p:nvPr>
        </p:nvSpPr>
        <p:spPr>
          <a:xfrm>
            <a:off x="6456687" y="1620863"/>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72" name="Text Placeholder 61">
            <a:extLst>
              <a:ext uri="{FF2B5EF4-FFF2-40B4-BE49-F238E27FC236}">
                <a16:creationId xmlns:a16="http://schemas.microsoft.com/office/drawing/2014/main" id="{6CEEACE9-8EE4-FC32-AF27-4B73BC93D379}"/>
              </a:ext>
            </a:extLst>
          </p:cNvPr>
          <p:cNvSpPr>
            <a:spLocks noGrp="1"/>
          </p:cNvSpPr>
          <p:nvPr userDrawn="1">
            <p:ph type="body" sz="quarter" idx="17" hasCustomPrompt="1"/>
          </p:nvPr>
        </p:nvSpPr>
        <p:spPr>
          <a:xfrm>
            <a:off x="6631548" y="2244785"/>
            <a:ext cx="1280160" cy="475432"/>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73" name="Text Placeholder 63">
            <a:extLst>
              <a:ext uri="{FF2B5EF4-FFF2-40B4-BE49-F238E27FC236}">
                <a16:creationId xmlns:a16="http://schemas.microsoft.com/office/drawing/2014/main" id="{BB7F9FF1-7617-3B39-E510-593E236FBA7E}"/>
              </a:ext>
            </a:extLst>
          </p:cNvPr>
          <p:cNvSpPr>
            <a:spLocks noGrp="1"/>
          </p:cNvSpPr>
          <p:nvPr userDrawn="1">
            <p:ph type="body" sz="quarter" idx="18" hasCustomPrompt="1"/>
          </p:nvPr>
        </p:nvSpPr>
        <p:spPr>
          <a:xfrm>
            <a:off x="6631548" y="2717225"/>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104" name="Text Placeholder 97">
            <a:extLst>
              <a:ext uri="{FF2B5EF4-FFF2-40B4-BE49-F238E27FC236}">
                <a16:creationId xmlns:a16="http://schemas.microsoft.com/office/drawing/2014/main" id="{0CD90A5F-4D3D-6BB1-B8CE-765DCC95EC90}"/>
              </a:ext>
            </a:extLst>
          </p:cNvPr>
          <p:cNvSpPr>
            <a:spLocks noGrp="1"/>
          </p:cNvSpPr>
          <p:nvPr userDrawn="1">
            <p:ph type="body" sz="quarter" idx="39" hasCustomPrompt="1"/>
          </p:nvPr>
        </p:nvSpPr>
        <p:spPr>
          <a:xfrm>
            <a:off x="7748705" y="2909287"/>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61" name="Text Placeholder 5">
            <a:extLst>
              <a:ext uri="{FF2B5EF4-FFF2-40B4-BE49-F238E27FC236}">
                <a16:creationId xmlns:a16="http://schemas.microsoft.com/office/drawing/2014/main" id="{82F7A4E9-C42A-A2A2-A151-F766779E3962}"/>
              </a:ext>
            </a:extLst>
          </p:cNvPr>
          <p:cNvSpPr>
            <a:spLocks noGrp="1"/>
          </p:cNvSpPr>
          <p:nvPr>
            <p:ph type="body" sz="quarter" idx="54" hasCustomPrompt="1"/>
          </p:nvPr>
        </p:nvSpPr>
        <p:spPr>
          <a:xfrm>
            <a:off x="8236399" y="4614369"/>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6" name="Text Placeholder 97">
            <a:extLst>
              <a:ext uri="{FF2B5EF4-FFF2-40B4-BE49-F238E27FC236}">
                <a16:creationId xmlns:a16="http://schemas.microsoft.com/office/drawing/2014/main" id="{51E633B7-1E95-92E2-7DDC-9A7B9E70B756}"/>
              </a:ext>
            </a:extLst>
          </p:cNvPr>
          <p:cNvSpPr>
            <a:spLocks noGrp="1"/>
          </p:cNvSpPr>
          <p:nvPr userDrawn="1">
            <p:ph type="body" sz="quarter" idx="41" hasCustomPrompt="1"/>
          </p:nvPr>
        </p:nvSpPr>
        <p:spPr>
          <a:xfrm>
            <a:off x="9479259" y="4328031"/>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95" name="Text Placeholder 61">
            <a:extLst>
              <a:ext uri="{FF2B5EF4-FFF2-40B4-BE49-F238E27FC236}">
                <a16:creationId xmlns:a16="http://schemas.microsoft.com/office/drawing/2014/main" id="{5FCDC069-8B0F-C8F3-14E9-43A09900CB95}"/>
              </a:ext>
            </a:extLst>
          </p:cNvPr>
          <p:cNvSpPr>
            <a:spLocks noGrp="1"/>
          </p:cNvSpPr>
          <p:nvPr userDrawn="1">
            <p:ph type="body" sz="quarter" idx="32" hasCustomPrompt="1"/>
          </p:nvPr>
        </p:nvSpPr>
        <p:spPr>
          <a:xfrm>
            <a:off x="8361036" y="5369722"/>
            <a:ext cx="1378359" cy="481857"/>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96" name="Text Placeholder 63">
            <a:extLst>
              <a:ext uri="{FF2B5EF4-FFF2-40B4-BE49-F238E27FC236}">
                <a16:creationId xmlns:a16="http://schemas.microsoft.com/office/drawing/2014/main" id="{CCA209C9-0DFE-4936-4192-BC3D167ABED8}"/>
              </a:ext>
            </a:extLst>
          </p:cNvPr>
          <p:cNvSpPr>
            <a:spLocks noGrp="1"/>
          </p:cNvSpPr>
          <p:nvPr userDrawn="1">
            <p:ph type="body" sz="quarter" idx="33" hasCustomPrompt="1"/>
          </p:nvPr>
        </p:nvSpPr>
        <p:spPr>
          <a:xfrm>
            <a:off x="8361036" y="5857403"/>
            <a:ext cx="1378359"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sp>
        <p:nvSpPr>
          <p:cNvPr id="63" name="Text Placeholder 5">
            <a:extLst>
              <a:ext uri="{FF2B5EF4-FFF2-40B4-BE49-F238E27FC236}">
                <a16:creationId xmlns:a16="http://schemas.microsoft.com/office/drawing/2014/main" id="{89D6F33A-39E4-F20B-73C8-F48B2A375F86}"/>
              </a:ext>
            </a:extLst>
          </p:cNvPr>
          <p:cNvSpPr>
            <a:spLocks noGrp="1"/>
          </p:cNvSpPr>
          <p:nvPr>
            <p:ph type="body" sz="quarter" idx="55" hasCustomPrompt="1"/>
          </p:nvPr>
        </p:nvSpPr>
        <p:spPr>
          <a:xfrm>
            <a:off x="9442443" y="2600480"/>
            <a:ext cx="1627632" cy="1618488"/>
          </a:xfrm>
          <a:prstGeom prst="roundRect">
            <a:avLst>
              <a:gd name="adj" fmla="val 17457"/>
            </a:avLst>
          </a:prstGeom>
          <a:solidFill>
            <a:schemeClr val="bg1"/>
          </a:solidFill>
          <a:ln w="444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tIns="173736" rtlCol="0" anchor="t">
            <a:noAutofit/>
          </a:bodyPr>
          <a:lstStyle>
            <a:lvl1pPr marL="0" indent="0" algn="ctr">
              <a:buNone/>
              <a:defRPr lang="en-US" sz="1800" b="1" cap="all" baseline="0" dirty="0">
                <a:solidFill>
                  <a:sysClr val="windowText" lastClr="000000"/>
                </a:solidFill>
              </a:defRPr>
            </a:lvl1pPr>
          </a:lstStyle>
          <a:p>
            <a:pPr marL="0" lvl="0" algn="ctr"/>
            <a:r>
              <a:rPr lang="en-US" noProof="0"/>
              <a:t>ADD TEXT</a:t>
            </a:r>
          </a:p>
        </p:txBody>
      </p:sp>
      <p:sp>
        <p:nvSpPr>
          <p:cNvPr id="105" name="Text Placeholder 97">
            <a:extLst>
              <a:ext uri="{FF2B5EF4-FFF2-40B4-BE49-F238E27FC236}">
                <a16:creationId xmlns:a16="http://schemas.microsoft.com/office/drawing/2014/main" id="{BC978A5E-BA57-D579-B645-8427AD22EA44}"/>
              </a:ext>
            </a:extLst>
          </p:cNvPr>
          <p:cNvSpPr>
            <a:spLocks noGrp="1"/>
          </p:cNvSpPr>
          <p:nvPr userDrawn="1">
            <p:ph type="body" sz="quarter" idx="40" hasCustomPrompt="1"/>
          </p:nvPr>
        </p:nvSpPr>
        <p:spPr>
          <a:xfrm>
            <a:off x="10752251" y="2307353"/>
            <a:ext cx="630936" cy="630936"/>
          </a:xfrm>
          <a:prstGeom prst="ellipse">
            <a:avLst/>
          </a:prstGeom>
          <a:solidFill>
            <a:schemeClr val="accent4">
              <a:lumMod val="60000"/>
              <a:lumOff val="40000"/>
            </a:schemeClr>
          </a:solidFill>
          <a:ln w="44450">
            <a:solidFill>
              <a:schemeClr val="tx1"/>
            </a:solidFill>
          </a:ln>
        </p:spPr>
        <p:txBody>
          <a:bodyPr lIns="0" tIns="0" rIns="0" bIns="0" anchor="ctr">
            <a:noAutofit/>
          </a:bodyPr>
          <a:lstStyle>
            <a:lvl1pPr marL="0" indent="0" algn="ctr">
              <a:lnSpc>
                <a:spcPct val="100000"/>
              </a:lnSpc>
              <a:spcBef>
                <a:spcPts val="0"/>
              </a:spcBef>
              <a:buNone/>
              <a:defRPr sz="2800" b="1">
                <a:ln w="0">
                  <a:noFill/>
                </a:ln>
                <a:solidFill>
                  <a:schemeClr val="tx1"/>
                </a:solidFill>
              </a:defRPr>
            </a:lvl1pPr>
            <a:lvl2pPr marL="457200" indent="0">
              <a:buNone/>
              <a:defRPr sz="2800"/>
            </a:lvl2pPr>
            <a:lvl3pPr marL="914400" indent="0">
              <a:buNone/>
              <a:defRPr sz="2800"/>
            </a:lvl3pPr>
            <a:lvl4pPr marL="1371600" indent="0">
              <a:buNone/>
              <a:defRPr sz="2800"/>
            </a:lvl4pPr>
            <a:lvl5pPr marL="1828800" indent="0">
              <a:buNone/>
              <a:defRPr sz="2800"/>
            </a:lvl5pPr>
          </a:lstStyle>
          <a:p>
            <a:pPr lvl="0"/>
            <a:r>
              <a:rPr lang="en-US" noProof="0"/>
              <a:t>#</a:t>
            </a:r>
          </a:p>
        </p:txBody>
      </p:sp>
      <p:sp>
        <p:nvSpPr>
          <p:cNvPr id="75" name="Text Placeholder 61">
            <a:extLst>
              <a:ext uri="{FF2B5EF4-FFF2-40B4-BE49-F238E27FC236}">
                <a16:creationId xmlns:a16="http://schemas.microsoft.com/office/drawing/2014/main" id="{B6F832EC-808B-6975-C6A4-504CA92D4C2B}"/>
              </a:ext>
            </a:extLst>
          </p:cNvPr>
          <p:cNvSpPr>
            <a:spLocks noGrp="1"/>
          </p:cNvSpPr>
          <p:nvPr userDrawn="1">
            <p:ph type="body" sz="quarter" idx="20" hasCustomPrompt="1"/>
          </p:nvPr>
        </p:nvSpPr>
        <p:spPr>
          <a:xfrm>
            <a:off x="9609126" y="3233383"/>
            <a:ext cx="1280160" cy="475432"/>
          </a:xfrm>
        </p:spPr>
        <p:txBody>
          <a:bodyPr>
            <a:noAutofit/>
          </a:bodyPr>
          <a:lstStyle>
            <a:lvl1pPr marL="0" indent="0" algn="ctr">
              <a:buNone/>
              <a:defRPr sz="1200"/>
            </a:lvl1pPr>
            <a:lvl2pPr marL="457200" indent="0" algn="ctr">
              <a:buNone/>
              <a:defRPr sz="1400"/>
            </a:lvl2pPr>
            <a:lvl3pPr marL="914400" indent="0" algn="ctr">
              <a:buNone/>
              <a:defRPr sz="1400"/>
            </a:lvl3pPr>
            <a:lvl4pPr marL="1371600" indent="0" algn="ctr">
              <a:buNone/>
              <a:defRPr sz="1400"/>
            </a:lvl4pPr>
            <a:lvl5pPr marL="1828800" indent="0" algn="ctr">
              <a:buNone/>
              <a:defRPr sz="1400"/>
            </a:lvl5pPr>
          </a:lstStyle>
          <a:p>
            <a:pPr lvl="0"/>
            <a:r>
              <a:rPr lang="en-US" noProof="0"/>
              <a:t>Add text here</a:t>
            </a:r>
          </a:p>
        </p:txBody>
      </p:sp>
      <p:sp>
        <p:nvSpPr>
          <p:cNvPr id="76" name="Text Placeholder 63">
            <a:extLst>
              <a:ext uri="{FF2B5EF4-FFF2-40B4-BE49-F238E27FC236}">
                <a16:creationId xmlns:a16="http://schemas.microsoft.com/office/drawing/2014/main" id="{133A3E42-95A8-F5D9-0568-81B074FC5EBA}"/>
              </a:ext>
            </a:extLst>
          </p:cNvPr>
          <p:cNvSpPr>
            <a:spLocks noGrp="1"/>
          </p:cNvSpPr>
          <p:nvPr userDrawn="1">
            <p:ph type="body" sz="quarter" idx="21" hasCustomPrompt="1"/>
          </p:nvPr>
        </p:nvSpPr>
        <p:spPr>
          <a:xfrm>
            <a:off x="9609126" y="3705823"/>
            <a:ext cx="1280160" cy="206582"/>
          </a:xfrm>
        </p:spPr>
        <p:txBody>
          <a:bodyPr lIns="0" tIns="0" rIns="0">
            <a:noAutofit/>
          </a:bodyPr>
          <a:lstStyle>
            <a:lvl1pPr marL="0" indent="0" algn="ctr">
              <a:buNone/>
              <a:defRPr sz="1000"/>
            </a:lvl1pPr>
            <a:lvl2pPr marL="457200" indent="0" algn="ctr">
              <a:buNone/>
              <a:defRPr sz="1200"/>
            </a:lvl2pPr>
            <a:lvl3pPr marL="914400" indent="0" algn="ctr">
              <a:buNone/>
              <a:defRPr sz="1200"/>
            </a:lvl3pPr>
            <a:lvl4pPr marL="1371600" indent="0" algn="ctr">
              <a:buNone/>
              <a:defRPr sz="1200"/>
            </a:lvl4pPr>
            <a:lvl5pPr marL="1828800" indent="0" algn="ctr">
              <a:buNone/>
              <a:defRPr sz="1200"/>
            </a:lvl5pPr>
          </a:lstStyle>
          <a:p>
            <a:pPr lvl="0"/>
            <a:r>
              <a:rPr lang="en-US" noProof="0"/>
              <a:t>Add text here</a:t>
            </a:r>
          </a:p>
        </p:txBody>
      </p:sp>
      <p:grpSp>
        <p:nvGrpSpPr>
          <p:cNvPr id="111" name="Group 110">
            <a:extLst>
              <a:ext uri="{FF2B5EF4-FFF2-40B4-BE49-F238E27FC236}">
                <a16:creationId xmlns:a16="http://schemas.microsoft.com/office/drawing/2014/main" id="{3DF54CD3-BB3E-E782-CD8E-51009C4C983B}"/>
              </a:ext>
              <a:ext uri="{C183D7F6-B498-43B3-948B-1728B52AA6E4}">
                <adec:decorative xmlns:adec="http://schemas.microsoft.com/office/drawing/2017/decorative" xmlns="" val="1"/>
              </a:ext>
            </a:extLst>
          </p:cNvPr>
          <p:cNvGrpSpPr/>
          <p:nvPr userDrawn="1"/>
        </p:nvGrpSpPr>
        <p:grpSpPr>
          <a:xfrm>
            <a:off x="904788" y="2454293"/>
            <a:ext cx="952774" cy="952774"/>
            <a:chOff x="1439932" y="5704678"/>
            <a:chExt cx="528220" cy="528220"/>
          </a:xfrm>
        </p:grpSpPr>
        <p:sp>
          <p:nvSpPr>
            <p:cNvPr id="112" name="Rounded Rectangle 22">
              <a:extLst>
                <a:ext uri="{FF2B5EF4-FFF2-40B4-BE49-F238E27FC236}">
                  <a16:creationId xmlns:a16="http://schemas.microsoft.com/office/drawing/2014/main" id="{AF537999-FC7A-D972-3F60-688A6E291ABB}"/>
                </a:ext>
              </a:extLst>
            </p:cNvPr>
            <p:cNvSpPr/>
            <p:nvPr/>
          </p:nvSpPr>
          <p:spPr>
            <a:xfrm>
              <a:off x="1584325" y="5946775"/>
              <a:ext cx="231775" cy="257175"/>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13" name="Graphic 112" descr="Beaker outline">
              <a:extLst>
                <a:ext uri="{FF2B5EF4-FFF2-40B4-BE49-F238E27FC236}">
                  <a16:creationId xmlns:a16="http://schemas.microsoft.com/office/drawing/2014/main" id="{0B68F278-EA7A-A028-E6FE-49BCB80C02E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439932" y="5704678"/>
              <a:ext cx="528220" cy="528220"/>
            </a:xfrm>
            <a:prstGeom prst="rect">
              <a:avLst/>
            </a:prstGeom>
          </p:spPr>
        </p:pic>
      </p:grpSp>
      <p:grpSp>
        <p:nvGrpSpPr>
          <p:cNvPr id="25" name="Group 24">
            <a:extLst>
              <a:ext uri="{FF2B5EF4-FFF2-40B4-BE49-F238E27FC236}">
                <a16:creationId xmlns:a16="http://schemas.microsoft.com/office/drawing/2014/main" id="{DA472485-8431-4413-76EE-E60ECE8C4CCA}"/>
              </a:ext>
              <a:ext uri="{C183D7F6-B498-43B3-948B-1728B52AA6E4}">
                <adec:decorative xmlns:adec="http://schemas.microsoft.com/office/drawing/2017/decorative" xmlns="" val="1"/>
              </a:ext>
            </a:extLst>
          </p:cNvPr>
          <p:cNvGrpSpPr/>
          <p:nvPr userDrawn="1"/>
        </p:nvGrpSpPr>
        <p:grpSpPr>
          <a:xfrm>
            <a:off x="2664150" y="3684053"/>
            <a:ext cx="952774" cy="952774"/>
            <a:chOff x="2951231" y="3465853"/>
            <a:chExt cx="528220" cy="528220"/>
          </a:xfrm>
        </p:grpSpPr>
        <p:sp>
          <p:nvSpPr>
            <p:cNvPr id="26" name="Triangle 25">
              <a:extLst>
                <a:ext uri="{FF2B5EF4-FFF2-40B4-BE49-F238E27FC236}">
                  <a16:creationId xmlns:a16="http://schemas.microsoft.com/office/drawing/2014/main" id="{E67F9920-7336-E2C5-FDBA-ED51BB31268E}"/>
                </a:ext>
              </a:extLst>
            </p:cNvPr>
            <p:cNvSpPr/>
            <p:nvPr/>
          </p:nvSpPr>
          <p:spPr>
            <a:xfrm>
              <a:off x="3117064" y="3719958"/>
              <a:ext cx="196553" cy="241108"/>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7" name="Graphic 26" descr="Flask outline">
              <a:extLst>
                <a:ext uri="{FF2B5EF4-FFF2-40B4-BE49-F238E27FC236}">
                  <a16:creationId xmlns:a16="http://schemas.microsoft.com/office/drawing/2014/main" id="{F4815F2C-6ED5-865C-6B4B-80AFD725C0BD}"/>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2951231" y="3465853"/>
              <a:ext cx="528220" cy="528220"/>
            </a:xfrm>
            <a:prstGeom prst="rect">
              <a:avLst/>
            </a:prstGeom>
          </p:spPr>
        </p:pic>
      </p:grpSp>
      <p:grpSp>
        <p:nvGrpSpPr>
          <p:cNvPr id="28" name="Group 27">
            <a:extLst>
              <a:ext uri="{FF2B5EF4-FFF2-40B4-BE49-F238E27FC236}">
                <a16:creationId xmlns:a16="http://schemas.microsoft.com/office/drawing/2014/main" id="{71EE792B-79B1-50C3-343A-E3F4D5402B9B}"/>
              </a:ext>
              <a:ext uri="{C183D7F6-B498-43B3-948B-1728B52AA6E4}">
                <adec:decorative xmlns:adec="http://schemas.microsoft.com/office/drawing/2017/decorative" xmlns="" val="1"/>
              </a:ext>
            </a:extLst>
          </p:cNvPr>
          <p:cNvGrpSpPr/>
          <p:nvPr userDrawn="1"/>
        </p:nvGrpSpPr>
        <p:grpSpPr>
          <a:xfrm>
            <a:off x="3938315" y="1480066"/>
            <a:ext cx="952774" cy="952774"/>
            <a:chOff x="4289303" y="1663393"/>
            <a:chExt cx="528220" cy="528220"/>
          </a:xfrm>
        </p:grpSpPr>
        <p:sp>
          <p:nvSpPr>
            <p:cNvPr id="29" name="Triangle 28">
              <a:extLst>
                <a:ext uri="{FF2B5EF4-FFF2-40B4-BE49-F238E27FC236}">
                  <a16:creationId xmlns:a16="http://schemas.microsoft.com/office/drawing/2014/main" id="{F8552807-4426-A927-ECE6-5AC796EC0C35}"/>
                </a:ext>
              </a:extLst>
            </p:cNvPr>
            <p:cNvSpPr/>
            <p:nvPr/>
          </p:nvSpPr>
          <p:spPr>
            <a:xfrm>
              <a:off x="4413250" y="1775103"/>
              <a:ext cx="174625" cy="146050"/>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0" name="Graphic 29" descr="Mountains outline">
              <a:extLst>
                <a:ext uri="{FF2B5EF4-FFF2-40B4-BE49-F238E27FC236}">
                  <a16:creationId xmlns:a16="http://schemas.microsoft.com/office/drawing/2014/main" id="{DAB608FC-C0B8-B163-AE89-433F36BD13C1}"/>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4289303" y="1663393"/>
              <a:ext cx="528220" cy="528220"/>
            </a:xfrm>
            <a:prstGeom prst="rect">
              <a:avLst/>
            </a:prstGeom>
          </p:spPr>
        </p:pic>
      </p:grpSp>
      <p:grpSp>
        <p:nvGrpSpPr>
          <p:cNvPr id="59" name="Group 58">
            <a:extLst>
              <a:ext uri="{FF2B5EF4-FFF2-40B4-BE49-F238E27FC236}">
                <a16:creationId xmlns:a16="http://schemas.microsoft.com/office/drawing/2014/main" id="{D99B50B6-EFD7-4DFA-6C2D-453341A8DCED}"/>
              </a:ext>
              <a:ext uri="{C183D7F6-B498-43B3-948B-1728B52AA6E4}">
                <adec:decorative xmlns:adec="http://schemas.microsoft.com/office/drawing/2017/decorative" xmlns="" val="1"/>
              </a:ext>
            </a:extLst>
          </p:cNvPr>
          <p:cNvGrpSpPr/>
          <p:nvPr userDrawn="1"/>
        </p:nvGrpSpPr>
        <p:grpSpPr>
          <a:xfrm>
            <a:off x="4622277" y="5047462"/>
            <a:ext cx="805762" cy="805762"/>
            <a:chOff x="4622277" y="5047462"/>
            <a:chExt cx="805762" cy="805762"/>
          </a:xfrm>
        </p:grpSpPr>
        <p:sp>
          <p:nvSpPr>
            <p:cNvPr id="48" name="Oval 47">
              <a:extLst>
                <a:ext uri="{FF2B5EF4-FFF2-40B4-BE49-F238E27FC236}">
                  <a16:creationId xmlns:a16="http://schemas.microsoft.com/office/drawing/2014/main" id="{B5628EA7-1F58-28ED-D2BF-911EDFF9C1AE}"/>
                </a:ext>
                <a:ext uri="{C183D7F6-B498-43B3-948B-1728B52AA6E4}">
                  <adec:decorative xmlns:adec="http://schemas.microsoft.com/office/drawing/2017/decorative" xmlns="" val="1"/>
                </a:ext>
              </a:extLst>
            </p:cNvPr>
            <p:cNvSpPr/>
            <p:nvPr userDrawn="1"/>
          </p:nvSpPr>
          <p:spPr>
            <a:xfrm>
              <a:off x="4682503" y="5096114"/>
              <a:ext cx="708759" cy="708759"/>
            </a:xfrm>
            <a:prstGeom prst="ellipse">
              <a:avLst/>
            </a:prstGeom>
            <a:solidFill>
              <a:schemeClr val="accent4">
                <a:lumMod val="60000"/>
                <a:lumOff val="4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8" name="Group 17">
              <a:extLst>
                <a:ext uri="{FF2B5EF4-FFF2-40B4-BE49-F238E27FC236}">
                  <a16:creationId xmlns:a16="http://schemas.microsoft.com/office/drawing/2014/main" id="{B4B798C8-1467-0056-A809-6782DE79ABB4}"/>
                </a:ext>
                <a:ext uri="{C183D7F6-B498-43B3-948B-1728B52AA6E4}">
                  <adec:decorative xmlns:adec="http://schemas.microsoft.com/office/drawing/2017/decorative" xmlns="" val="1"/>
                </a:ext>
              </a:extLst>
            </p:cNvPr>
            <p:cNvGrpSpPr/>
            <p:nvPr userDrawn="1"/>
          </p:nvGrpSpPr>
          <p:grpSpPr>
            <a:xfrm>
              <a:off x="4622277" y="5047462"/>
              <a:ext cx="805762" cy="805762"/>
              <a:chOff x="4754023" y="5074814"/>
              <a:chExt cx="528220" cy="528220"/>
            </a:xfrm>
          </p:grpSpPr>
          <p:sp>
            <p:nvSpPr>
              <p:cNvPr id="19" name="Oval 18">
                <a:extLst>
                  <a:ext uri="{FF2B5EF4-FFF2-40B4-BE49-F238E27FC236}">
                    <a16:creationId xmlns:a16="http://schemas.microsoft.com/office/drawing/2014/main" id="{0B213240-4F8D-98CD-565D-2EC9BEDADC1B}"/>
                  </a:ext>
                </a:extLst>
              </p:cNvPr>
              <p:cNvSpPr/>
              <p:nvPr/>
            </p:nvSpPr>
            <p:spPr>
              <a:xfrm>
                <a:off x="4997450" y="5334000"/>
                <a:ext cx="47625" cy="4762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1" name="Graphic 20" descr="Stopwatch 50% outline">
                <a:extLst>
                  <a:ext uri="{FF2B5EF4-FFF2-40B4-BE49-F238E27FC236}">
                    <a16:creationId xmlns:a16="http://schemas.microsoft.com/office/drawing/2014/main" id="{46885AC9-7CD3-8BC1-E57A-61B4E8C1E1EA}"/>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4754023" y="5074814"/>
                <a:ext cx="528220" cy="528220"/>
              </a:xfrm>
              <a:prstGeom prst="rect">
                <a:avLst/>
              </a:prstGeom>
            </p:spPr>
          </p:pic>
        </p:grpSp>
      </p:grpSp>
      <p:grpSp>
        <p:nvGrpSpPr>
          <p:cNvPr id="8" name="Group 7">
            <a:extLst>
              <a:ext uri="{FF2B5EF4-FFF2-40B4-BE49-F238E27FC236}">
                <a16:creationId xmlns:a16="http://schemas.microsoft.com/office/drawing/2014/main" id="{63C61C0D-B53E-B284-0E62-9A7696BD9534}"/>
              </a:ext>
              <a:ext uri="{C183D7F6-B498-43B3-948B-1728B52AA6E4}">
                <adec:decorative xmlns:adec="http://schemas.microsoft.com/office/drawing/2017/decorative" xmlns="" val="1"/>
              </a:ext>
            </a:extLst>
          </p:cNvPr>
          <p:cNvGrpSpPr/>
          <p:nvPr userDrawn="1"/>
        </p:nvGrpSpPr>
        <p:grpSpPr>
          <a:xfrm>
            <a:off x="6561140" y="3547070"/>
            <a:ext cx="952774" cy="991627"/>
            <a:chOff x="6561140" y="3547070"/>
            <a:chExt cx="952774" cy="991627"/>
          </a:xfrm>
        </p:grpSpPr>
        <p:sp>
          <p:nvSpPr>
            <p:cNvPr id="49" name="Oval 48">
              <a:extLst>
                <a:ext uri="{FF2B5EF4-FFF2-40B4-BE49-F238E27FC236}">
                  <a16:creationId xmlns:a16="http://schemas.microsoft.com/office/drawing/2014/main" id="{1ED6A410-8C78-CE05-2EF9-C9A68C64C280}"/>
                </a:ext>
                <a:ext uri="{C183D7F6-B498-43B3-948B-1728B52AA6E4}">
                  <adec:decorative xmlns:adec="http://schemas.microsoft.com/office/drawing/2017/decorative" xmlns="" val="1"/>
                </a:ext>
              </a:extLst>
            </p:cNvPr>
            <p:cNvSpPr/>
            <p:nvPr userDrawn="1"/>
          </p:nvSpPr>
          <p:spPr>
            <a:xfrm>
              <a:off x="6681053" y="3547070"/>
              <a:ext cx="708759" cy="708759"/>
            </a:xfrm>
            <a:prstGeom prst="ellipse">
              <a:avLst/>
            </a:prstGeom>
            <a:solidFill>
              <a:schemeClr val="accent4">
                <a:lumMod val="60000"/>
                <a:lumOff val="4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15" name="Group 14">
              <a:extLst>
                <a:ext uri="{FF2B5EF4-FFF2-40B4-BE49-F238E27FC236}">
                  <a16:creationId xmlns:a16="http://schemas.microsoft.com/office/drawing/2014/main" id="{2BA5654A-7FC5-4977-C6AD-476320F5D90E}"/>
                </a:ext>
                <a:ext uri="{C183D7F6-B498-43B3-948B-1728B52AA6E4}">
                  <adec:decorative xmlns:adec="http://schemas.microsoft.com/office/drawing/2017/decorative" xmlns="" val="1"/>
                </a:ext>
              </a:extLst>
            </p:cNvPr>
            <p:cNvGrpSpPr/>
            <p:nvPr userDrawn="1"/>
          </p:nvGrpSpPr>
          <p:grpSpPr>
            <a:xfrm>
              <a:off x="6561140" y="3585923"/>
              <a:ext cx="952774" cy="952774"/>
              <a:chOff x="6747063" y="4036055"/>
              <a:chExt cx="528220" cy="528220"/>
            </a:xfrm>
          </p:grpSpPr>
          <p:sp>
            <p:nvSpPr>
              <p:cNvPr id="16" name="Rounded Rectangle 15">
                <a:extLst>
                  <a:ext uri="{FF2B5EF4-FFF2-40B4-BE49-F238E27FC236}">
                    <a16:creationId xmlns:a16="http://schemas.microsoft.com/office/drawing/2014/main" id="{C21946C9-9EAF-4B63-599A-FC4E42672D69}"/>
                  </a:ext>
                </a:extLst>
              </p:cNvPr>
              <p:cNvSpPr/>
              <p:nvPr/>
            </p:nvSpPr>
            <p:spPr>
              <a:xfrm>
                <a:off x="6943725" y="4137025"/>
                <a:ext cx="139700" cy="152400"/>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7" name="Graphic 16" descr="Astronaut male outline">
                <a:extLst>
                  <a:ext uri="{FF2B5EF4-FFF2-40B4-BE49-F238E27FC236}">
                    <a16:creationId xmlns:a16="http://schemas.microsoft.com/office/drawing/2014/main" id="{669C584F-84D8-2E01-04A5-78685124A48C}"/>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6747063" y="4036055"/>
                <a:ext cx="528220" cy="528220"/>
              </a:xfrm>
              <a:prstGeom prst="rect">
                <a:avLst/>
              </a:prstGeom>
            </p:spPr>
          </p:pic>
        </p:grpSp>
      </p:grpSp>
      <p:grpSp>
        <p:nvGrpSpPr>
          <p:cNvPr id="60" name="Group 59">
            <a:extLst>
              <a:ext uri="{FF2B5EF4-FFF2-40B4-BE49-F238E27FC236}">
                <a16:creationId xmlns:a16="http://schemas.microsoft.com/office/drawing/2014/main" id="{6149857E-2F60-360F-AF5E-6E21997C3EA4}"/>
              </a:ext>
              <a:ext uri="{C183D7F6-B498-43B3-948B-1728B52AA6E4}">
                <adec:decorative xmlns:adec="http://schemas.microsoft.com/office/drawing/2017/decorative" xmlns="" val="1"/>
              </a:ext>
            </a:extLst>
          </p:cNvPr>
          <p:cNvGrpSpPr/>
          <p:nvPr userDrawn="1"/>
        </p:nvGrpSpPr>
        <p:grpSpPr>
          <a:xfrm>
            <a:off x="7989572" y="1815518"/>
            <a:ext cx="952774" cy="1002186"/>
            <a:chOff x="7989572" y="1815518"/>
            <a:chExt cx="952774" cy="1002186"/>
          </a:xfrm>
        </p:grpSpPr>
        <p:sp>
          <p:nvSpPr>
            <p:cNvPr id="50" name="Oval 49">
              <a:extLst>
                <a:ext uri="{FF2B5EF4-FFF2-40B4-BE49-F238E27FC236}">
                  <a16:creationId xmlns:a16="http://schemas.microsoft.com/office/drawing/2014/main" id="{07A2D96D-82E4-1EE2-0409-4CDEBEA4176D}"/>
                </a:ext>
                <a:ext uri="{C183D7F6-B498-43B3-948B-1728B52AA6E4}">
                  <adec:decorative xmlns:adec="http://schemas.microsoft.com/office/drawing/2017/decorative" xmlns="" val="1"/>
                </a:ext>
              </a:extLst>
            </p:cNvPr>
            <p:cNvSpPr/>
            <p:nvPr userDrawn="1"/>
          </p:nvSpPr>
          <p:spPr>
            <a:xfrm>
              <a:off x="8156791" y="1815518"/>
              <a:ext cx="549989" cy="952774"/>
            </a:xfrm>
            <a:prstGeom prst="ellipse">
              <a:avLst/>
            </a:prstGeom>
            <a:solidFill>
              <a:schemeClr val="accent4">
                <a:lumMod val="60000"/>
                <a:lumOff val="4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41" name="Group 40">
              <a:extLst>
                <a:ext uri="{FF2B5EF4-FFF2-40B4-BE49-F238E27FC236}">
                  <a16:creationId xmlns:a16="http://schemas.microsoft.com/office/drawing/2014/main" id="{0251065B-A02E-6D16-E39C-A8CDAB7272B8}"/>
                </a:ext>
                <a:ext uri="{C183D7F6-B498-43B3-948B-1728B52AA6E4}">
                  <adec:decorative xmlns:adec="http://schemas.microsoft.com/office/drawing/2017/decorative" xmlns="" val="1"/>
                </a:ext>
              </a:extLst>
            </p:cNvPr>
            <p:cNvGrpSpPr/>
            <p:nvPr userDrawn="1"/>
          </p:nvGrpSpPr>
          <p:grpSpPr>
            <a:xfrm>
              <a:off x="7989572" y="1864930"/>
              <a:ext cx="952774" cy="952774"/>
              <a:chOff x="8184330" y="2237414"/>
              <a:chExt cx="528220" cy="528220"/>
            </a:xfrm>
          </p:grpSpPr>
          <p:sp>
            <p:nvSpPr>
              <p:cNvPr id="42" name="Rounded Rectangle 41">
                <a:extLst>
                  <a:ext uri="{FF2B5EF4-FFF2-40B4-BE49-F238E27FC236}">
                    <a16:creationId xmlns:a16="http://schemas.microsoft.com/office/drawing/2014/main" id="{0E3875A7-721F-9D93-6152-34CD9E51E351}"/>
                  </a:ext>
                </a:extLst>
              </p:cNvPr>
              <p:cNvSpPr/>
              <p:nvPr/>
            </p:nvSpPr>
            <p:spPr>
              <a:xfrm>
                <a:off x="8375754" y="2552075"/>
                <a:ext cx="146154" cy="108679"/>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43" name="Graphic 42" descr="Fluorescent Light Blub outline">
                <a:extLst>
                  <a:ext uri="{FF2B5EF4-FFF2-40B4-BE49-F238E27FC236}">
                    <a16:creationId xmlns:a16="http://schemas.microsoft.com/office/drawing/2014/main" id="{AAAAD4CF-FEF8-CD94-C24A-F58B69EA741D}"/>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8184330" y="2237414"/>
                <a:ext cx="528220" cy="528220"/>
              </a:xfrm>
              <a:prstGeom prst="rect">
                <a:avLst/>
              </a:prstGeom>
            </p:spPr>
          </p:pic>
        </p:grpSp>
      </p:grpSp>
      <p:grpSp>
        <p:nvGrpSpPr>
          <p:cNvPr id="36" name="Group 35">
            <a:extLst>
              <a:ext uri="{FF2B5EF4-FFF2-40B4-BE49-F238E27FC236}">
                <a16:creationId xmlns:a16="http://schemas.microsoft.com/office/drawing/2014/main" id="{EBAAFE76-32E1-9AFA-B10F-10B6FF9B1010}"/>
              </a:ext>
              <a:ext uri="{C183D7F6-B498-43B3-948B-1728B52AA6E4}">
                <adec:decorative xmlns:adec="http://schemas.microsoft.com/office/drawing/2017/decorative" xmlns="" val="1"/>
              </a:ext>
            </a:extLst>
          </p:cNvPr>
          <p:cNvGrpSpPr/>
          <p:nvPr userDrawn="1"/>
        </p:nvGrpSpPr>
        <p:grpSpPr>
          <a:xfrm>
            <a:off x="9340613" y="1492493"/>
            <a:ext cx="952774" cy="952774"/>
            <a:chOff x="11298880" y="3198881"/>
            <a:chExt cx="528220" cy="528220"/>
          </a:xfrm>
        </p:grpSpPr>
        <p:sp>
          <p:nvSpPr>
            <p:cNvPr id="37" name="Triangle 36">
              <a:extLst>
                <a:ext uri="{FF2B5EF4-FFF2-40B4-BE49-F238E27FC236}">
                  <a16:creationId xmlns:a16="http://schemas.microsoft.com/office/drawing/2014/main" id="{7EC20B07-2082-1525-F73C-72C3AEFD7AEF}"/>
                </a:ext>
              </a:extLst>
            </p:cNvPr>
            <p:cNvSpPr/>
            <p:nvPr/>
          </p:nvSpPr>
          <p:spPr>
            <a:xfrm rot="2647120">
              <a:off x="11709901" y="3241598"/>
              <a:ext cx="89654" cy="53447"/>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38" name="Group 37">
              <a:extLst>
                <a:ext uri="{FF2B5EF4-FFF2-40B4-BE49-F238E27FC236}">
                  <a16:creationId xmlns:a16="http://schemas.microsoft.com/office/drawing/2014/main" id="{30A6CB04-7F44-2656-B5C0-BA19CF4A55EF}"/>
                </a:ext>
              </a:extLst>
            </p:cNvPr>
            <p:cNvGrpSpPr/>
            <p:nvPr/>
          </p:nvGrpSpPr>
          <p:grpSpPr>
            <a:xfrm>
              <a:off x="11298880" y="3198881"/>
              <a:ext cx="528220" cy="528220"/>
              <a:chOff x="11298880" y="3198881"/>
              <a:chExt cx="528220" cy="528220"/>
            </a:xfrm>
          </p:grpSpPr>
          <p:sp>
            <p:nvSpPr>
              <p:cNvPr id="39" name="Oval 38">
                <a:extLst>
                  <a:ext uri="{FF2B5EF4-FFF2-40B4-BE49-F238E27FC236}">
                    <a16:creationId xmlns:a16="http://schemas.microsoft.com/office/drawing/2014/main" id="{DDE88159-7C0D-0ECA-4691-159E9F72B0C3}"/>
                  </a:ext>
                </a:extLst>
              </p:cNvPr>
              <p:cNvSpPr/>
              <p:nvPr/>
            </p:nvSpPr>
            <p:spPr>
              <a:xfrm>
                <a:off x="11623675" y="3327400"/>
                <a:ext cx="73025" cy="7302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40" name="Graphic 39" descr="Rocket outline">
                <a:extLst>
                  <a:ext uri="{FF2B5EF4-FFF2-40B4-BE49-F238E27FC236}">
                    <a16:creationId xmlns:a16="http://schemas.microsoft.com/office/drawing/2014/main" id="{31D8AE9C-6DAE-18D0-4E11-D1847BFA33A3}"/>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11298880" y="3198881"/>
                <a:ext cx="528220" cy="528220"/>
              </a:xfrm>
              <a:prstGeom prst="rect">
                <a:avLst/>
              </a:prstGeom>
            </p:spPr>
          </p:pic>
        </p:grpSp>
      </p:grpSp>
      <p:grpSp>
        <p:nvGrpSpPr>
          <p:cNvPr id="31" name="Group 30">
            <a:extLst>
              <a:ext uri="{FF2B5EF4-FFF2-40B4-BE49-F238E27FC236}">
                <a16:creationId xmlns:a16="http://schemas.microsoft.com/office/drawing/2014/main" id="{3E151E43-388D-1379-0C86-3B16B7D21A20}"/>
              </a:ext>
              <a:ext uri="{C183D7F6-B498-43B3-948B-1728B52AA6E4}">
                <adec:decorative xmlns:adec="http://schemas.microsoft.com/office/drawing/2017/decorative" xmlns="" val="1"/>
              </a:ext>
            </a:extLst>
          </p:cNvPr>
          <p:cNvGrpSpPr/>
          <p:nvPr userDrawn="1"/>
        </p:nvGrpSpPr>
        <p:grpSpPr>
          <a:xfrm>
            <a:off x="10415559" y="4602158"/>
            <a:ext cx="952774" cy="952774"/>
            <a:chOff x="8712550" y="4007070"/>
            <a:chExt cx="528220" cy="528220"/>
          </a:xfrm>
        </p:grpSpPr>
        <p:sp>
          <p:nvSpPr>
            <p:cNvPr id="32" name="Oval 31">
              <a:extLst>
                <a:ext uri="{FF2B5EF4-FFF2-40B4-BE49-F238E27FC236}">
                  <a16:creationId xmlns:a16="http://schemas.microsoft.com/office/drawing/2014/main" id="{A684B467-F2BC-E2CA-C1D8-58E2B8928DE0}"/>
                </a:ext>
              </a:extLst>
            </p:cNvPr>
            <p:cNvSpPr/>
            <p:nvPr/>
          </p:nvSpPr>
          <p:spPr>
            <a:xfrm>
              <a:off x="9051925" y="4200525"/>
              <a:ext cx="45719" cy="4571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33" name="Group 32">
              <a:extLst>
                <a:ext uri="{FF2B5EF4-FFF2-40B4-BE49-F238E27FC236}">
                  <a16:creationId xmlns:a16="http://schemas.microsoft.com/office/drawing/2014/main" id="{FC8A76DE-D6B4-E7E8-9BFC-5047FA2FBC9E}"/>
                </a:ext>
              </a:extLst>
            </p:cNvPr>
            <p:cNvGrpSpPr/>
            <p:nvPr/>
          </p:nvGrpSpPr>
          <p:grpSpPr>
            <a:xfrm>
              <a:off x="8712550" y="4007070"/>
              <a:ext cx="528220" cy="528220"/>
              <a:chOff x="8712550" y="4007070"/>
              <a:chExt cx="528220" cy="528220"/>
            </a:xfrm>
          </p:grpSpPr>
          <p:sp>
            <p:nvSpPr>
              <p:cNvPr id="34" name="Oval 33">
                <a:extLst>
                  <a:ext uri="{FF2B5EF4-FFF2-40B4-BE49-F238E27FC236}">
                    <a16:creationId xmlns:a16="http://schemas.microsoft.com/office/drawing/2014/main" id="{F7CB0088-71D9-B173-01F3-643D37EA15A1}"/>
                  </a:ext>
                </a:extLst>
              </p:cNvPr>
              <p:cNvSpPr/>
              <p:nvPr/>
            </p:nvSpPr>
            <p:spPr>
              <a:xfrm>
                <a:off x="8858250" y="4162425"/>
                <a:ext cx="123825" cy="12382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35" name="Graphic 34" descr="Test Dummy outline">
                <a:extLst>
                  <a:ext uri="{FF2B5EF4-FFF2-40B4-BE49-F238E27FC236}">
                    <a16:creationId xmlns:a16="http://schemas.microsoft.com/office/drawing/2014/main" id="{FFF4E145-FBE6-1035-8727-3E5365516D57}"/>
                  </a:ext>
                </a:extLst>
              </p:cNvPr>
              <p:cNvPicPr>
                <a:picLocks noChangeAspect="1"/>
              </p:cNvPicPr>
              <p:nvPr/>
            </p:nvPicPr>
            <p:blipFill>
              <a:blip r:embed="rId18">
                <a:extLst>
                  <a:ext uri="{96DAC541-7B7A-43D3-8B79-37D633B846F1}">
                    <asvg:svgBlip xmlns:asvg="http://schemas.microsoft.com/office/drawing/2016/SVG/main" xmlns="" r:embed="rId19"/>
                  </a:ext>
                </a:extLst>
              </a:blip>
              <a:stretch>
                <a:fillRect/>
              </a:stretch>
            </p:blipFill>
            <p:spPr>
              <a:xfrm>
                <a:off x="8712550" y="4007070"/>
                <a:ext cx="528220" cy="528220"/>
              </a:xfrm>
              <a:prstGeom prst="rect">
                <a:avLst/>
              </a:prstGeom>
            </p:spPr>
          </p:pic>
        </p:grpSp>
      </p:grpSp>
      <p:grpSp>
        <p:nvGrpSpPr>
          <p:cNvPr id="58" name="Group 57">
            <a:extLst>
              <a:ext uri="{FF2B5EF4-FFF2-40B4-BE49-F238E27FC236}">
                <a16:creationId xmlns:a16="http://schemas.microsoft.com/office/drawing/2014/main" id="{09AD1300-26B6-4618-9923-C9763BEA8E46}"/>
              </a:ext>
              <a:ext uri="{C183D7F6-B498-43B3-948B-1728B52AA6E4}">
                <adec:decorative xmlns:adec="http://schemas.microsoft.com/office/drawing/2017/decorative" xmlns="" val="1"/>
              </a:ext>
            </a:extLst>
          </p:cNvPr>
          <p:cNvGrpSpPr/>
          <p:nvPr userDrawn="1"/>
        </p:nvGrpSpPr>
        <p:grpSpPr>
          <a:xfrm>
            <a:off x="177629" y="1323744"/>
            <a:ext cx="11401345" cy="4795500"/>
            <a:chOff x="177629" y="1323744"/>
            <a:chExt cx="11401345" cy="4795500"/>
          </a:xfrm>
        </p:grpSpPr>
        <p:grpSp>
          <p:nvGrpSpPr>
            <p:cNvPr id="196" name="Group 195">
              <a:extLst>
                <a:ext uri="{FF2B5EF4-FFF2-40B4-BE49-F238E27FC236}">
                  <a16:creationId xmlns:a16="http://schemas.microsoft.com/office/drawing/2014/main" id="{191DB388-8AE6-D27E-EE45-54AE4D407964}"/>
                </a:ext>
                <a:ext uri="{C183D7F6-B498-43B3-948B-1728B52AA6E4}">
                  <adec:decorative xmlns:adec="http://schemas.microsoft.com/office/drawing/2017/decorative" xmlns="" val="1"/>
                </a:ext>
              </a:extLst>
            </p:cNvPr>
            <p:cNvGrpSpPr/>
            <p:nvPr userDrawn="1"/>
          </p:nvGrpSpPr>
          <p:grpSpPr>
            <a:xfrm>
              <a:off x="177629" y="4491478"/>
              <a:ext cx="301769" cy="301769"/>
              <a:chOff x="177629" y="4485128"/>
              <a:chExt cx="301769" cy="301769"/>
            </a:xfrm>
          </p:grpSpPr>
          <p:sp>
            <p:nvSpPr>
              <p:cNvPr id="195" name="Oval 194">
                <a:extLst>
                  <a:ext uri="{FF2B5EF4-FFF2-40B4-BE49-F238E27FC236}">
                    <a16:creationId xmlns:a16="http://schemas.microsoft.com/office/drawing/2014/main" id="{A53DBD0A-368E-A0FF-F28C-D20A7ED52A21}"/>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6" name="Oval 175">
                <a:extLst>
                  <a:ext uri="{FF2B5EF4-FFF2-40B4-BE49-F238E27FC236}">
                    <a16:creationId xmlns:a16="http://schemas.microsoft.com/office/drawing/2014/main" id="{7AD83492-28D3-6EE9-3E89-83AFC92038C7}"/>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200" name="Group 199">
              <a:extLst>
                <a:ext uri="{FF2B5EF4-FFF2-40B4-BE49-F238E27FC236}">
                  <a16:creationId xmlns:a16="http://schemas.microsoft.com/office/drawing/2014/main" id="{C9EDB943-E93A-7686-9CD5-D347DCEB1AD8}"/>
                </a:ext>
                <a:ext uri="{C183D7F6-B498-43B3-948B-1728B52AA6E4}">
                  <adec:decorative xmlns:adec="http://schemas.microsoft.com/office/drawing/2017/decorative" xmlns="" val="1"/>
                </a:ext>
              </a:extLst>
            </p:cNvPr>
            <p:cNvGrpSpPr/>
            <p:nvPr userDrawn="1"/>
          </p:nvGrpSpPr>
          <p:grpSpPr>
            <a:xfrm>
              <a:off x="3840437" y="1323744"/>
              <a:ext cx="301769" cy="301769"/>
              <a:chOff x="177629" y="4485128"/>
              <a:chExt cx="301769" cy="301769"/>
            </a:xfrm>
          </p:grpSpPr>
          <p:sp>
            <p:nvSpPr>
              <p:cNvPr id="201" name="Oval 200">
                <a:extLst>
                  <a:ext uri="{FF2B5EF4-FFF2-40B4-BE49-F238E27FC236}">
                    <a16:creationId xmlns:a16="http://schemas.microsoft.com/office/drawing/2014/main" id="{05C43D67-C50C-4951-E374-5EB39BCFEE06}"/>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2" name="Oval 201">
                <a:extLst>
                  <a:ext uri="{FF2B5EF4-FFF2-40B4-BE49-F238E27FC236}">
                    <a16:creationId xmlns:a16="http://schemas.microsoft.com/office/drawing/2014/main" id="{36F888DD-164A-602B-6C03-391875003382}"/>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203" name="Group 202">
              <a:extLst>
                <a:ext uri="{FF2B5EF4-FFF2-40B4-BE49-F238E27FC236}">
                  <a16:creationId xmlns:a16="http://schemas.microsoft.com/office/drawing/2014/main" id="{A1398F04-4324-B068-362D-86BADA8CE26F}"/>
                </a:ext>
                <a:ext uri="{C183D7F6-B498-43B3-948B-1728B52AA6E4}">
                  <adec:decorative xmlns:adec="http://schemas.microsoft.com/office/drawing/2017/decorative" xmlns="" val="1"/>
                </a:ext>
              </a:extLst>
            </p:cNvPr>
            <p:cNvGrpSpPr/>
            <p:nvPr userDrawn="1"/>
          </p:nvGrpSpPr>
          <p:grpSpPr>
            <a:xfrm>
              <a:off x="4866228" y="5817475"/>
              <a:ext cx="301769" cy="301769"/>
              <a:chOff x="177629" y="4485128"/>
              <a:chExt cx="301769" cy="301769"/>
            </a:xfrm>
          </p:grpSpPr>
          <p:sp>
            <p:nvSpPr>
              <p:cNvPr id="204" name="Oval 203">
                <a:extLst>
                  <a:ext uri="{FF2B5EF4-FFF2-40B4-BE49-F238E27FC236}">
                    <a16:creationId xmlns:a16="http://schemas.microsoft.com/office/drawing/2014/main" id="{64313864-DCAC-8C56-BC93-C2E9D7175F28}"/>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5" name="Oval 204">
                <a:extLst>
                  <a:ext uri="{FF2B5EF4-FFF2-40B4-BE49-F238E27FC236}">
                    <a16:creationId xmlns:a16="http://schemas.microsoft.com/office/drawing/2014/main" id="{F2E03A96-264C-9B16-02A7-AB662FAF753B}"/>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206" name="Group 205">
              <a:extLst>
                <a:ext uri="{FF2B5EF4-FFF2-40B4-BE49-F238E27FC236}">
                  <a16:creationId xmlns:a16="http://schemas.microsoft.com/office/drawing/2014/main" id="{558FF337-DCBF-E18A-612C-6FAC8AA7FCF4}"/>
                </a:ext>
                <a:ext uri="{C183D7F6-B498-43B3-948B-1728B52AA6E4}">
                  <adec:decorative xmlns:adec="http://schemas.microsoft.com/office/drawing/2017/decorative" xmlns="" val="1"/>
                </a:ext>
              </a:extLst>
            </p:cNvPr>
            <p:cNvGrpSpPr/>
            <p:nvPr userDrawn="1"/>
          </p:nvGrpSpPr>
          <p:grpSpPr>
            <a:xfrm>
              <a:off x="8748446" y="2579010"/>
              <a:ext cx="301769" cy="301769"/>
              <a:chOff x="177629" y="4485128"/>
              <a:chExt cx="301769" cy="301769"/>
            </a:xfrm>
          </p:grpSpPr>
          <p:sp>
            <p:nvSpPr>
              <p:cNvPr id="207" name="Oval 206">
                <a:extLst>
                  <a:ext uri="{FF2B5EF4-FFF2-40B4-BE49-F238E27FC236}">
                    <a16:creationId xmlns:a16="http://schemas.microsoft.com/office/drawing/2014/main" id="{C7C00316-C72E-9B3C-82C8-DC629EB6B01E}"/>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8" name="Oval 207">
                <a:extLst>
                  <a:ext uri="{FF2B5EF4-FFF2-40B4-BE49-F238E27FC236}">
                    <a16:creationId xmlns:a16="http://schemas.microsoft.com/office/drawing/2014/main" id="{65D02F47-AFC8-498E-83E7-8CE50A21ABA7}"/>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209" name="Group 208">
              <a:extLst>
                <a:ext uri="{FF2B5EF4-FFF2-40B4-BE49-F238E27FC236}">
                  <a16:creationId xmlns:a16="http://schemas.microsoft.com/office/drawing/2014/main" id="{625E5C35-EC87-4623-6A74-C2C555578E47}"/>
                </a:ext>
                <a:ext uri="{C183D7F6-B498-43B3-948B-1728B52AA6E4}">
                  <adec:decorative xmlns:adec="http://schemas.microsoft.com/office/drawing/2017/decorative" xmlns="" val="1"/>
                </a:ext>
              </a:extLst>
            </p:cNvPr>
            <p:cNvGrpSpPr/>
            <p:nvPr userDrawn="1"/>
          </p:nvGrpSpPr>
          <p:grpSpPr>
            <a:xfrm>
              <a:off x="11277205" y="1774315"/>
              <a:ext cx="301769" cy="301769"/>
              <a:chOff x="177629" y="4485128"/>
              <a:chExt cx="301769" cy="301769"/>
            </a:xfrm>
          </p:grpSpPr>
          <p:sp>
            <p:nvSpPr>
              <p:cNvPr id="210" name="Oval 209">
                <a:extLst>
                  <a:ext uri="{FF2B5EF4-FFF2-40B4-BE49-F238E27FC236}">
                    <a16:creationId xmlns:a16="http://schemas.microsoft.com/office/drawing/2014/main" id="{83634796-B5E9-6A3D-F3ED-093E1E473DBD}"/>
                  </a:ext>
                </a:extLst>
              </p:cNvPr>
              <p:cNvSpPr/>
              <p:nvPr userDrawn="1"/>
            </p:nvSpPr>
            <p:spPr>
              <a:xfrm>
                <a:off x="177629" y="4485128"/>
                <a:ext cx="301769" cy="301769"/>
              </a:xfrm>
              <a:prstGeom prst="ellipse">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1" name="Oval 210">
                <a:extLst>
                  <a:ext uri="{FF2B5EF4-FFF2-40B4-BE49-F238E27FC236}">
                    <a16:creationId xmlns:a16="http://schemas.microsoft.com/office/drawing/2014/main" id="{61D37696-FE84-D547-9323-A142EB361F1D}"/>
                  </a:ext>
                </a:extLst>
              </p:cNvPr>
              <p:cNvSpPr/>
              <p:nvPr userDrawn="1"/>
            </p:nvSpPr>
            <p:spPr>
              <a:xfrm>
                <a:off x="246567" y="4558634"/>
                <a:ext cx="165100" cy="16510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44" name="Oval 43">
              <a:extLst>
                <a:ext uri="{FF2B5EF4-FFF2-40B4-BE49-F238E27FC236}">
                  <a16:creationId xmlns:a16="http://schemas.microsoft.com/office/drawing/2014/main" id="{951AF843-DA06-6016-4B8C-21A2FCEBD190}"/>
                </a:ext>
                <a:ext uri="{C183D7F6-B498-43B3-948B-1728B52AA6E4}">
                  <adec:decorative xmlns:adec="http://schemas.microsoft.com/office/drawing/2017/decorative" xmlns="" val="1"/>
                </a:ext>
              </a:extLst>
            </p:cNvPr>
            <p:cNvSpPr/>
            <p:nvPr userDrawn="1"/>
          </p:nvSpPr>
          <p:spPr>
            <a:xfrm>
              <a:off x="1235858" y="1807123"/>
              <a:ext cx="185620" cy="18562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5" name="Oval 44">
              <a:extLst>
                <a:ext uri="{FF2B5EF4-FFF2-40B4-BE49-F238E27FC236}">
                  <a16:creationId xmlns:a16="http://schemas.microsoft.com/office/drawing/2014/main" id="{8C4B75F1-72BF-3E5E-0873-D2DD25B5C228}"/>
                </a:ext>
                <a:ext uri="{C183D7F6-B498-43B3-948B-1728B52AA6E4}">
                  <adec:decorative xmlns:adec="http://schemas.microsoft.com/office/drawing/2017/decorative" xmlns="" val="1"/>
                </a:ext>
              </a:extLst>
            </p:cNvPr>
            <p:cNvSpPr/>
            <p:nvPr userDrawn="1"/>
          </p:nvSpPr>
          <p:spPr>
            <a:xfrm>
              <a:off x="6084045" y="3210780"/>
              <a:ext cx="185620" cy="18562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6" name="Oval 45">
              <a:extLst>
                <a:ext uri="{FF2B5EF4-FFF2-40B4-BE49-F238E27FC236}">
                  <a16:creationId xmlns:a16="http://schemas.microsoft.com/office/drawing/2014/main" id="{B2889E39-C57E-12AE-4D30-32EFAA08FEC4}"/>
                </a:ext>
                <a:ext uri="{C183D7F6-B498-43B3-948B-1728B52AA6E4}">
                  <adec:decorative xmlns:adec="http://schemas.microsoft.com/office/drawing/2017/decorative" xmlns="" val="1"/>
                </a:ext>
              </a:extLst>
            </p:cNvPr>
            <p:cNvSpPr/>
            <p:nvPr userDrawn="1"/>
          </p:nvSpPr>
          <p:spPr>
            <a:xfrm>
              <a:off x="10293387" y="5819412"/>
              <a:ext cx="185620" cy="18562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7" name="Oval 46">
              <a:extLst>
                <a:ext uri="{FF2B5EF4-FFF2-40B4-BE49-F238E27FC236}">
                  <a16:creationId xmlns:a16="http://schemas.microsoft.com/office/drawing/2014/main" id="{6F5C2B1A-E152-E79C-52FC-D79C44C8D117}"/>
                </a:ext>
                <a:ext uri="{C183D7F6-B498-43B3-948B-1728B52AA6E4}">
                  <adec:decorative xmlns:adec="http://schemas.microsoft.com/office/drawing/2017/decorative" xmlns="" val="1"/>
                </a:ext>
              </a:extLst>
            </p:cNvPr>
            <p:cNvSpPr/>
            <p:nvPr userDrawn="1"/>
          </p:nvSpPr>
          <p:spPr>
            <a:xfrm>
              <a:off x="2051341" y="5849417"/>
              <a:ext cx="185620" cy="185620"/>
            </a:xfrm>
            <a:prstGeom prst="ellipse">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29377619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B6362DDE-5EFE-4D6A-AD62-664744385D96}" type="slidenum">
              <a:rPr lang="en-CA" smtClean="0"/>
              <a:pPr/>
              <a:t>‹#›</a:t>
            </a:fld>
            <a:endParaRPr lang="en-CA"/>
          </a:p>
        </p:txBody>
      </p:sp>
      <p:sp>
        <p:nvSpPr>
          <p:cNvPr id="7" name="Text Placeholder 6"/>
          <p:cNvSpPr>
            <a:spLocks noGrp="1"/>
          </p:cNvSpPr>
          <p:nvPr>
            <p:ph type="body" sz="quarter" idx="11" hasCustomPrompt="1"/>
          </p:nvPr>
        </p:nvSpPr>
        <p:spPr>
          <a:xfrm>
            <a:off x="624421" y="1412776"/>
            <a:ext cx="10971772" cy="4657824"/>
          </a:xfrm>
        </p:spPr>
        <p:txBody>
          <a:bodyPr/>
          <a:lstStyle>
            <a:lvl1pPr algn="l" defTabSz="914377" rtl="0" eaLnBrk="1" latinLnBrk="0" hangingPunct="1">
              <a:spcBef>
                <a:spcPct val="20000"/>
              </a:spcBef>
              <a:defRPr lang="en-US" sz="2133" kern="1200" cap="none" baseline="0" dirty="0">
                <a:solidFill>
                  <a:schemeClr val="tx1">
                    <a:lumMod val="95000"/>
                    <a:lumOff val="5000"/>
                  </a:schemeClr>
                </a:solidFill>
                <a:latin typeface="+mn-lt"/>
                <a:ea typeface="+mn-ea"/>
                <a:cs typeface="+mn-cs"/>
              </a:defRPr>
            </a:lvl1pPr>
            <a:lvl2pPr marL="450839" indent="-263519" algn="l" defTabSz="914377" rtl="0" eaLnBrk="1" latinLnBrk="0" hangingPunct="1">
              <a:spcBef>
                <a:spcPct val="20000"/>
              </a:spcBef>
              <a:buClr>
                <a:srgbClr val="005FAA"/>
              </a:buClr>
              <a:buFont typeface="Wingdings" pitchFamily="2" charset="2"/>
              <a:buChar char="§"/>
              <a:defRPr lang="en-US" sz="2133" kern="1200" cap="none" baseline="0" dirty="0">
                <a:solidFill>
                  <a:schemeClr val="tx1">
                    <a:lumMod val="95000"/>
                    <a:lumOff val="5000"/>
                  </a:schemeClr>
                </a:solidFill>
                <a:latin typeface="+mn-lt"/>
                <a:ea typeface="+mn-ea"/>
                <a:cs typeface="+mn-cs"/>
              </a:defRPr>
            </a:lvl2pPr>
            <a:lvl3pPr marL="717533" indent="-228594" algn="l" defTabSz="914377" rtl="0" eaLnBrk="1" latinLnBrk="0" hangingPunct="1">
              <a:spcBef>
                <a:spcPct val="20000"/>
              </a:spcBef>
              <a:buFont typeface="Arial" pitchFamily="34" charset="0"/>
              <a:buChar char="•"/>
              <a:defRPr lang="en-US" sz="2133" kern="1200" cap="none" baseline="0" dirty="0">
                <a:solidFill>
                  <a:schemeClr val="tx1">
                    <a:lumMod val="95000"/>
                    <a:lumOff val="5000"/>
                  </a:schemeClr>
                </a:solidFill>
                <a:latin typeface="+mn-lt"/>
                <a:ea typeface="+mn-ea"/>
                <a:cs typeface="+mn-cs"/>
              </a:defRPr>
            </a:lvl3pPr>
            <a:lvl4pPr algn="l" defTabSz="914377" rtl="0" eaLnBrk="1" latinLnBrk="0" hangingPunct="1">
              <a:spcBef>
                <a:spcPct val="20000"/>
              </a:spcBef>
              <a:buFont typeface="Corbel" pitchFamily="34" charset="0"/>
              <a:buChar char="–"/>
              <a:defRPr lang="en-US" sz="2133" kern="1200" cap="none" baseline="0" dirty="0">
                <a:solidFill>
                  <a:schemeClr val="tx1">
                    <a:lumMod val="95000"/>
                    <a:lumOff val="5000"/>
                  </a:schemeClr>
                </a:solidFill>
                <a:latin typeface="+mn-lt"/>
                <a:ea typeface="+mn-ea"/>
                <a:cs typeface="+mn-cs"/>
              </a:defRPr>
            </a:lvl4pPr>
            <a:lvl5pPr algn="l" defTabSz="914377" rtl="0" eaLnBrk="1" latinLnBrk="0" hangingPunct="1">
              <a:spcBef>
                <a:spcPct val="20000"/>
              </a:spcBef>
              <a:buFont typeface="Arial" pitchFamily="34" charset="0"/>
              <a:buChar char="»"/>
              <a:defRPr lang="en-CA" sz="2133" kern="1200" cap="none" baseline="0" dirty="0">
                <a:solidFill>
                  <a:schemeClr val="tx1">
                    <a:lumMod val="95000"/>
                    <a:lumOff val="5000"/>
                  </a:schemeClr>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a:p>
            <a:pPr lvl="0"/>
            <a:endParaRPr lang="en-CA"/>
          </a:p>
        </p:txBody>
      </p:sp>
      <p:sp>
        <p:nvSpPr>
          <p:cNvPr id="6" name="Title Placeholder 1">
            <a:extLst>
              <a:ext uri="{FF2B5EF4-FFF2-40B4-BE49-F238E27FC236}">
                <a16:creationId xmlns:a16="http://schemas.microsoft.com/office/drawing/2014/main" id="{79B32F2E-E809-0381-431F-D0D3BF221256}"/>
              </a:ext>
            </a:extLst>
          </p:cNvPr>
          <p:cNvSpPr>
            <a:spLocks noGrp="1"/>
          </p:cNvSpPr>
          <p:nvPr>
            <p:ph type="title"/>
          </p:nvPr>
        </p:nvSpPr>
        <p:spPr>
          <a:xfrm>
            <a:off x="927035" y="44624"/>
            <a:ext cx="10669157"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16865216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16606D5-A87C-4FD8-864B-AE5EA5CA2F96}" type="slidenum">
              <a:rPr lang="en-CA" smtClean="0"/>
              <a:pPr/>
              <a:t>‹#›</a:t>
            </a:fld>
            <a:endParaRPr lang="en-CA"/>
          </a:p>
        </p:txBody>
      </p:sp>
      <p:sp>
        <p:nvSpPr>
          <p:cNvPr id="7" name="Table Placeholder 6"/>
          <p:cNvSpPr>
            <a:spLocks noGrp="1"/>
          </p:cNvSpPr>
          <p:nvPr>
            <p:ph type="tbl" sz="quarter" idx="13"/>
          </p:nvPr>
        </p:nvSpPr>
        <p:spPr>
          <a:xfrm>
            <a:off x="623392" y="1412776"/>
            <a:ext cx="10972799" cy="4556224"/>
          </a:xfrm>
        </p:spPr>
        <p:txBody>
          <a:bodyPr/>
          <a:lstStyle/>
          <a:p>
            <a:endParaRPr lang="en-CA"/>
          </a:p>
        </p:txBody>
      </p:sp>
      <p:sp>
        <p:nvSpPr>
          <p:cNvPr id="8" name="Title Placeholder 1">
            <a:extLst>
              <a:ext uri="{FF2B5EF4-FFF2-40B4-BE49-F238E27FC236}">
                <a16:creationId xmlns:a16="http://schemas.microsoft.com/office/drawing/2014/main" id="{C34A769A-590E-BB21-B449-D1B0C9BBCFAF}"/>
              </a:ext>
            </a:extLst>
          </p:cNvPr>
          <p:cNvSpPr>
            <a:spLocks noGrp="1"/>
          </p:cNvSpPr>
          <p:nvPr>
            <p:ph type="title"/>
          </p:nvPr>
        </p:nvSpPr>
        <p:spPr>
          <a:xfrm>
            <a:off x="927035" y="44624"/>
            <a:ext cx="10669157" cy="980728"/>
          </a:xfrm>
          <a:prstGeom prst="rect">
            <a:avLst/>
          </a:prstGeom>
        </p:spPr>
        <p:txBody>
          <a:bodyPr vert="horz" lIns="91440" tIns="45720" rIns="91440" bIns="45720" rtlCol="0" anchor="ctr">
            <a:normAutofit/>
          </a:bodyPr>
          <a:lstStyle/>
          <a:p>
            <a:r>
              <a:rPr lang="en-US"/>
              <a:t>Click to edit Master title style</a:t>
            </a:r>
            <a:endParaRPr lang="en-CA"/>
          </a:p>
        </p:txBody>
      </p:sp>
    </p:spTree>
    <p:extLst>
      <p:ext uri="{BB962C8B-B14F-4D97-AF65-F5344CB8AC3E}">
        <p14:creationId xmlns:p14="http://schemas.microsoft.com/office/powerpoint/2010/main" val="29139259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_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0217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5769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4.png"/><Relationship Id="rId2" Type="http://schemas.openxmlformats.org/officeDocument/2006/relationships/slideLayout" Target="../slideLayouts/slideLayout12.xml"/><Relationship Id="rId16"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image" Target="../media/image5.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4.png"/><Relationship Id="rId2" Type="http://schemas.openxmlformats.org/officeDocument/2006/relationships/slideLayout" Target="../slideLayouts/slideLayout27.xml"/><Relationship Id="rId16"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image" Target="../media/image5.pn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4.png"/><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D854F411-F6FF-0B48-353E-D787299CB71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382153" y="6254984"/>
            <a:ext cx="1525647" cy="365125"/>
          </a:xfrm>
          <a:prstGeom prst="rect">
            <a:avLst/>
          </a:prstGeom>
        </p:spPr>
      </p:pic>
      <p:sp>
        <p:nvSpPr>
          <p:cNvPr id="12" name="Rectangle 11"/>
          <p:cNvSpPr/>
          <p:nvPr userDrawn="1"/>
        </p:nvSpPr>
        <p:spPr>
          <a:xfrm>
            <a:off x="609600" y="0"/>
            <a:ext cx="205813" cy="1052736"/>
          </a:xfrm>
          <a:prstGeom prst="rect">
            <a:avLst/>
          </a:prstGeom>
          <a:solidFill>
            <a:srgbClr val="005FAA">
              <a:alpha val="94902"/>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00">
              <a:solidFill>
                <a:schemeClr val="tx1">
                  <a:lumMod val="65000"/>
                  <a:lumOff val="35000"/>
                </a:schemeClr>
              </a:solidFill>
            </a:endParaRPr>
          </a:p>
        </p:txBody>
      </p:sp>
      <p:sp>
        <p:nvSpPr>
          <p:cNvPr id="2" name="Title Placeholder 1"/>
          <p:cNvSpPr>
            <a:spLocks noGrp="1"/>
          </p:cNvSpPr>
          <p:nvPr>
            <p:ph type="title"/>
          </p:nvPr>
        </p:nvSpPr>
        <p:spPr>
          <a:xfrm>
            <a:off x="927035"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609600" y="1412776"/>
            <a:ext cx="10972800" cy="4712993"/>
          </a:xfrm>
          <a:prstGeom prst="rect">
            <a:avLst/>
          </a:prstGeom>
        </p:spPr>
        <p:txBody>
          <a:bodyPr vert="horz" lIns="91440" tIns="45720" rIns="91440" bIns="45720" rtlCol="0">
            <a:normAutofit/>
          </a:bodyPr>
          <a:lstStyle/>
          <a:p>
            <a:pPr lvl="0"/>
            <a:r>
              <a:rPr lang="en-US"/>
              <a:t>Click to edit master text styles</a:t>
            </a:r>
          </a:p>
          <a:p>
            <a:pPr lvl="2"/>
            <a:r>
              <a:rPr lang="en-US"/>
              <a:t>Second level</a:t>
            </a:r>
          </a:p>
          <a:p>
            <a:pPr lvl="3"/>
            <a:r>
              <a:rPr lang="en-US"/>
              <a:t>Third level</a:t>
            </a:r>
          </a:p>
          <a:p>
            <a:pPr lvl="4"/>
            <a:r>
              <a:rPr lang="en-US"/>
              <a:t>Fourth level</a:t>
            </a:r>
          </a:p>
          <a:p>
            <a:pPr lvl="5"/>
            <a:r>
              <a:rPr lang="en-US"/>
              <a:t>Fifth level</a:t>
            </a:r>
            <a:endParaRPr lang="en-CA"/>
          </a:p>
        </p:txBody>
      </p:sp>
      <p:sp>
        <p:nvSpPr>
          <p:cNvPr id="6" name="Slide Number Placeholder 5"/>
          <p:cNvSpPr>
            <a:spLocks noGrp="1"/>
          </p:cNvSpPr>
          <p:nvPr>
            <p:ph type="sldNum" sz="quarter" idx="4"/>
          </p:nvPr>
        </p:nvSpPr>
        <p:spPr>
          <a:xfrm>
            <a:off x="623392" y="6309324"/>
            <a:ext cx="2844800" cy="365125"/>
          </a:xfrm>
          <a:prstGeom prst="rect">
            <a:avLst/>
          </a:prstGeom>
        </p:spPr>
        <p:txBody>
          <a:bodyPr vert="horz" lIns="91440" tIns="45720" rIns="91440" bIns="45720" rtlCol="0" anchor="ctr"/>
          <a:lstStyle>
            <a:lvl1pPr algn="l">
              <a:defRPr sz="1067">
                <a:solidFill>
                  <a:schemeClr val="tx1"/>
                </a:solidFill>
              </a:defRPr>
            </a:lvl1pPr>
          </a:lstStyle>
          <a:p>
            <a:fld id="{B6362DDE-5EFE-4D6A-AD62-664744385D96}" type="slidenum">
              <a:rPr lang="en-CA" smtClean="0"/>
              <a:pPr/>
              <a:t>‹#›</a:t>
            </a:fld>
            <a:endParaRPr lang="en-CA"/>
          </a:p>
        </p:txBody>
      </p:sp>
    </p:spTree>
    <p:extLst>
      <p:ext uri="{BB962C8B-B14F-4D97-AF65-F5344CB8AC3E}">
        <p14:creationId xmlns:p14="http://schemas.microsoft.com/office/powerpoint/2010/main" val="1947933175"/>
      </p:ext>
    </p:extLst>
  </p:cSld>
  <p:clrMap bg1="lt1" tx1="dk1" bg2="lt2" tx2="dk2" accent1="accent1" accent2="accent2" accent3="accent3" accent4="accent4" accent5="accent5" accent6="accent6" hlink="hlink" folHlink="folHlink"/>
  <p:sldLayoutIdLst>
    <p:sldLayoutId id="2147483741" r:id="rId1"/>
    <p:sldLayoutId id="2147483743" r:id="rId2"/>
    <p:sldLayoutId id="2147483744" r:id="rId3"/>
    <p:sldLayoutId id="2147483745" r:id="rId4"/>
    <p:sldLayoutId id="2147483746" r:id="rId5"/>
    <p:sldLayoutId id="2147483747" r:id="rId6"/>
    <p:sldLayoutId id="2147483748" r:id="rId7"/>
    <p:sldLayoutId id="2147483750" r:id="rId8"/>
    <p:sldLayoutId id="2147483769" r:id="rId9"/>
    <p:sldLayoutId id="2147483770" r:id="rId10"/>
  </p:sldLayoutIdLst>
  <p:hf sldNum="0" hdr="0" ftr="0" dt="0"/>
  <p:txStyles>
    <p:titleStyle>
      <a:lvl1pPr algn="l" defTabSz="914377" rtl="0" eaLnBrk="1" latinLnBrk="0" hangingPunct="1">
        <a:spcBef>
          <a:spcPct val="0"/>
        </a:spcBef>
        <a:buNone/>
        <a:defRPr lang="en-US" sz="4267" kern="1200" cap="none" baseline="0" smtClean="0">
          <a:solidFill>
            <a:srgbClr val="005FAA"/>
          </a:solidFill>
          <a:latin typeface="Calibri" pitchFamily="34" charset="0"/>
          <a:ea typeface="+mj-ea"/>
          <a:cs typeface="Calibri" pitchFamily="34" charset="0"/>
        </a:defRPr>
      </a:lvl1pPr>
    </p:titleStyle>
    <p:bodyStyle>
      <a:lvl1pPr marL="0" indent="0" algn="l" defTabSz="914377" rtl="0" eaLnBrk="1" latinLnBrk="0" hangingPunct="1">
        <a:spcBef>
          <a:spcPct val="20000"/>
        </a:spcBef>
        <a:buClr>
          <a:schemeClr val="bg1"/>
        </a:buClr>
        <a:buFont typeface="Arial" pitchFamily="34" charset="0"/>
        <a:buChar char="•"/>
        <a:defRPr sz="2133" kern="1200" cap="none" baseline="0">
          <a:solidFill>
            <a:schemeClr val="tx1"/>
          </a:solidFill>
          <a:latin typeface="Calibri" pitchFamily="34" charset="0"/>
          <a:ea typeface="+mn-ea"/>
          <a:cs typeface="Calibri" pitchFamily="34" charset="0"/>
        </a:defRPr>
      </a:lvl1pPr>
      <a:lvl2pPr marL="742932" indent="-285744" algn="l" defTabSz="914377" rtl="0" eaLnBrk="1" latinLnBrk="0" hangingPunct="1">
        <a:spcBef>
          <a:spcPct val="20000"/>
        </a:spcBef>
        <a:buClr>
          <a:schemeClr val="accent6"/>
        </a:buClr>
        <a:buFont typeface="Wingdings" pitchFamily="2" charset="2"/>
        <a:buChar char="§"/>
        <a:defRPr sz="2800" kern="1200">
          <a:solidFill>
            <a:schemeClr val="tx1"/>
          </a:solidFill>
          <a:latin typeface="Corbel" pitchFamily="34" charset="0"/>
          <a:ea typeface="+mn-ea"/>
          <a:cs typeface="+mn-cs"/>
        </a:defRPr>
      </a:lvl2pPr>
      <a:lvl3pPr marL="627047" indent="-263519" algn="l" defTabSz="914377" rtl="0" eaLnBrk="1" latinLnBrk="0" hangingPunct="1">
        <a:spcBef>
          <a:spcPct val="20000"/>
        </a:spcBef>
        <a:buClr>
          <a:srgbClr val="005FAA"/>
        </a:buClr>
        <a:buFont typeface="Arial" panose="020B0604020202020204" pitchFamily="34" charset="0"/>
        <a:buChar char="•"/>
        <a:defRPr sz="2133" kern="1200">
          <a:solidFill>
            <a:schemeClr val="tx1"/>
          </a:solidFill>
          <a:latin typeface="Calibri" pitchFamily="34" charset="0"/>
          <a:ea typeface="+mn-ea"/>
          <a:cs typeface="Calibri" pitchFamily="34" charset="0"/>
        </a:defRPr>
      </a:lvl3pPr>
      <a:lvl4pPr marL="1165196" indent="-263519" algn="l" defTabSz="914377" rtl="0" eaLnBrk="1" latinLnBrk="0" hangingPunct="1">
        <a:spcBef>
          <a:spcPct val="20000"/>
        </a:spcBef>
        <a:buClr>
          <a:srgbClr val="005FAA"/>
        </a:buClr>
        <a:buSzPct val="75000"/>
        <a:buFont typeface="Wingdings" panose="05000000000000000000" pitchFamily="2" charset="2"/>
        <a:buChar char="§"/>
        <a:defRPr sz="2133" kern="1200">
          <a:solidFill>
            <a:schemeClr val="tx1"/>
          </a:solidFill>
          <a:latin typeface="Calibri" pitchFamily="34" charset="0"/>
          <a:ea typeface="+mn-ea"/>
          <a:cs typeface="Calibri" pitchFamily="34" charset="0"/>
        </a:defRPr>
      </a:lvl4pPr>
      <a:lvl5pPr marL="1706520" indent="-228594" algn="l" defTabSz="914377" rtl="0" eaLnBrk="1" latinLnBrk="0" hangingPunct="1">
        <a:spcBef>
          <a:spcPct val="20000"/>
        </a:spcBef>
        <a:buClr>
          <a:srgbClr val="005FAA"/>
        </a:buClr>
        <a:buFont typeface="Corbel" pitchFamily="34" charset="0"/>
        <a:buChar char="–"/>
        <a:defRPr sz="2133" kern="1200">
          <a:solidFill>
            <a:schemeClr val="tx1"/>
          </a:solidFill>
          <a:latin typeface="Calibri" pitchFamily="34" charset="0"/>
          <a:ea typeface="+mn-ea"/>
          <a:cs typeface="Calibri" pitchFamily="34" charset="0"/>
        </a:defRPr>
      </a:lvl5pPr>
      <a:lvl6pPr marL="2241495" indent="-261932" algn="l" defTabSz="914377" rtl="0" eaLnBrk="1" latinLnBrk="0" hangingPunct="1">
        <a:spcBef>
          <a:spcPct val="20000"/>
        </a:spcBef>
        <a:buClr>
          <a:srgbClr val="005FAA"/>
        </a:buClr>
        <a:buFont typeface="Arial" pitchFamily="34" charset="0"/>
        <a:buChar char="»"/>
        <a:defRPr sz="2133" kern="1200">
          <a:solidFill>
            <a:schemeClr val="tx1"/>
          </a:solidFill>
          <a:latin typeface="Calibri" pitchFamily="34" charset="0"/>
          <a:ea typeface="+mn-ea"/>
          <a:cs typeface="Calibri" pitchFamily="34" charset="0"/>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 y="0"/>
            <a:ext cx="12191999" cy="6857998"/>
          </a:xfrm>
          <a:prstGeom prst="rect">
            <a:avLst/>
          </a:prstGeom>
        </p:spPr>
      </p:pic>
      <p:sp>
        <p:nvSpPr>
          <p:cNvPr id="12" name="Rectangle 11"/>
          <p:cNvSpPr/>
          <p:nvPr userDrawn="1"/>
        </p:nvSpPr>
        <p:spPr>
          <a:xfrm>
            <a:off x="609600" y="0"/>
            <a:ext cx="205813" cy="1052736"/>
          </a:xfrm>
          <a:prstGeom prst="rect">
            <a:avLst/>
          </a:prstGeom>
          <a:solidFill>
            <a:srgbClr val="005FAA">
              <a:alpha val="94902"/>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00">
              <a:solidFill>
                <a:schemeClr val="tx1">
                  <a:lumMod val="65000"/>
                  <a:lumOff val="35000"/>
                </a:schemeClr>
              </a:solidFill>
            </a:endParaRPr>
          </a:p>
        </p:txBody>
      </p:sp>
      <p:sp>
        <p:nvSpPr>
          <p:cNvPr id="2"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609600" y="1412776"/>
            <a:ext cx="10972800" cy="4525963"/>
          </a:xfrm>
          <a:prstGeom prst="rect">
            <a:avLst/>
          </a:prstGeom>
        </p:spPr>
        <p:txBody>
          <a:bodyPr vert="horz" lIns="91440" tIns="45720" rIns="91440" bIns="45720" rtlCol="0">
            <a:normAutofit/>
          </a:bodyPr>
          <a:lstStyle/>
          <a:p>
            <a:pPr lvl="0"/>
            <a:r>
              <a:rPr lang="en-US"/>
              <a:t>Click to edit master text styles</a:t>
            </a:r>
          </a:p>
          <a:p>
            <a:pPr lvl="2"/>
            <a:r>
              <a:rPr lang="en-US"/>
              <a:t>Second level</a:t>
            </a:r>
          </a:p>
          <a:p>
            <a:pPr lvl="3"/>
            <a:r>
              <a:rPr lang="en-US"/>
              <a:t>Third level</a:t>
            </a:r>
          </a:p>
          <a:p>
            <a:pPr lvl="4"/>
            <a:r>
              <a:rPr lang="en-US"/>
              <a:t>Fourth level</a:t>
            </a:r>
          </a:p>
          <a:p>
            <a:pPr lvl="5"/>
            <a:r>
              <a:rPr lang="en-US"/>
              <a:t>Fifth level</a:t>
            </a:r>
            <a:endParaRPr lang="en-CA"/>
          </a:p>
        </p:txBody>
      </p:sp>
      <p:sp>
        <p:nvSpPr>
          <p:cNvPr id="6"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solidFill>
              </a:defRPr>
            </a:lvl1pPr>
          </a:lstStyle>
          <a:p>
            <a:fld id="{B6362DDE-5EFE-4D6A-AD62-664744385D96}" type="slidenum">
              <a:rPr lang="en-CA" smtClean="0"/>
              <a:pPr/>
              <a:t>‹#›</a:t>
            </a:fld>
            <a:endParaRPr lang="en-CA"/>
          </a:p>
        </p:txBody>
      </p:sp>
    </p:spTree>
    <p:extLst>
      <p:ext uri="{BB962C8B-B14F-4D97-AF65-F5344CB8AC3E}">
        <p14:creationId xmlns:p14="http://schemas.microsoft.com/office/powerpoint/2010/main" val="1876080974"/>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8" r:id="rId15"/>
  </p:sldLayoutIdLst>
  <p:hf sldNum="0" hdr="0" ftr="0" dt="0"/>
  <p:txStyles>
    <p:titleStyle>
      <a:lvl1pPr algn="l" defTabSz="914400" rtl="0" eaLnBrk="1" latinLnBrk="0" hangingPunct="1">
        <a:spcBef>
          <a:spcPct val="0"/>
        </a:spcBef>
        <a:buNone/>
        <a:defRPr lang="en-US" sz="3400" kern="1200" cap="none" baseline="0" smtClean="0">
          <a:solidFill>
            <a:srgbClr val="005FAA"/>
          </a:solidFill>
          <a:latin typeface="Calibri" pitchFamily="34" charset="0"/>
          <a:ea typeface="+mj-ea"/>
          <a:cs typeface="Calibri" pitchFamily="34" charset="0"/>
        </a:defRPr>
      </a:lvl1pPr>
    </p:titleStyle>
    <p:bodyStyle>
      <a:lvl1pPr marL="0" indent="0" algn="l" defTabSz="914400" rtl="0" eaLnBrk="1" latinLnBrk="0" hangingPunct="1">
        <a:spcBef>
          <a:spcPct val="20000"/>
        </a:spcBef>
        <a:buClr>
          <a:schemeClr val="bg1"/>
        </a:buClr>
        <a:buFont typeface="Arial" pitchFamily="34" charset="0"/>
        <a:buChar char="•"/>
        <a:defRPr sz="3000" kern="1200" cap="none"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Clr>
          <a:schemeClr val="accent6"/>
        </a:buClr>
        <a:buFont typeface="Wingdings" pitchFamily="2" charset="2"/>
        <a:buChar char="§"/>
        <a:defRPr sz="2800" kern="1200">
          <a:solidFill>
            <a:schemeClr val="tx1"/>
          </a:solidFill>
          <a:latin typeface="Corbel" pitchFamily="34" charset="0"/>
          <a:ea typeface="+mn-ea"/>
          <a:cs typeface="+mn-cs"/>
        </a:defRPr>
      </a:lvl2pPr>
      <a:lvl3pPr marL="627063" indent="-263525" algn="l" defTabSz="914400" rtl="0" eaLnBrk="1" latinLnBrk="0" hangingPunct="1">
        <a:spcBef>
          <a:spcPct val="20000"/>
        </a:spcBef>
        <a:buClr>
          <a:srgbClr val="005FAA"/>
        </a:buClr>
        <a:buFont typeface="Wingdings" pitchFamily="2" charset="2"/>
        <a:buChar char="§"/>
        <a:defRPr sz="2800" kern="1200">
          <a:solidFill>
            <a:schemeClr val="tx1"/>
          </a:solidFill>
          <a:latin typeface="Calibri" pitchFamily="34" charset="0"/>
          <a:ea typeface="+mn-ea"/>
          <a:cs typeface="Calibri" pitchFamily="34" charset="0"/>
        </a:defRPr>
      </a:lvl3pPr>
      <a:lvl4pPr marL="1165225" indent="-263525" algn="l" defTabSz="914400" rtl="0" eaLnBrk="1" latinLnBrk="0" hangingPunct="1">
        <a:spcBef>
          <a:spcPct val="20000"/>
        </a:spcBef>
        <a:buClr>
          <a:srgbClr val="005FAA"/>
        </a:buClr>
        <a:buFont typeface="Arial" pitchFamily="34" charset="0"/>
        <a:buChar char="•"/>
        <a:defRPr sz="2400" kern="1200">
          <a:solidFill>
            <a:schemeClr val="tx1"/>
          </a:solidFill>
          <a:latin typeface="Calibri" pitchFamily="34" charset="0"/>
          <a:ea typeface="+mn-ea"/>
          <a:cs typeface="Calibri" pitchFamily="34" charset="0"/>
        </a:defRPr>
      </a:lvl4pPr>
      <a:lvl5pPr marL="1706563" indent="-228600" algn="l" defTabSz="914400" rtl="0" eaLnBrk="1" latinLnBrk="0" hangingPunct="1">
        <a:spcBef>
          <a:spcPct val="20000"/>
        </a:spcBef>
        <a:buClr>
          <a:srgbClr val="005FAA"/>
        </a:buClr>
        <a:buFont typeface="Corbel" pitchFamily="34" charset="0"/>
        <a:buChar char="–"/>
        <a:defRPr sz="2000" kern="1200">
          <a:solidFill>
            <a:schemeClr val="tx1"/>
          </a:solidFill>
          <a:latin typeface="Calibri" pitchFamily="34" charset="0"/>
          <a:ea typeface="+mn-ea"/>
          <a:cs typeface="Calibri" pitchFamily="34" charset="0"/>
        </a:defRPr>
      </a:lvl5pPr>
      <a:lvl6pPr marL="2241550" indent="-261938" algn="l" defTabSz="914400" rtl="0" eaLnBrk="1" latinLnBrk="0" hangingPunct="1">
        <a:spcBef>
          <a:spcPct val="20000"/>
        </a:spcBef>
        <a:buClr>
          <a:srgbClr val="005FAA"/>
        </a:buClr>
        <a:buFont typeface="Arial" pitchFamily="34" charset="0"/>
        <a:buChar char="»"/>
        <a:defRPr sz="1600" kern="1200">
          <a:solidFill>
            <a:schemeClr val="tx1"/>
          </a:solidFill>
          <a:latin typeface="Calibri" pitchFamily="34" charset="0"/>
          <a:ea typeface="+mn-ea"/>
          <a:cs typeface="Calibri"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 y="0"/>
            <a:ext cx="12191999" cy="6857998"/>
          </a:xfrm>
          <a:prstGeom prst="rect">
            <a:avLst/>
          </a:prstGeom>
        </p:spPr>
      </p:pic>
      <p:sp>
        <p:nvSpPr>
          <p:cNvPr id="8" name="Rectangle 7">
            <a:extLst>
              <a:ext uri="{FF2B5EF4-FFF2-40B4-BE49-F238E27FC236}">
                <a16:creationId xmlns:a16="http://schemas.microsoft.com/office/drawing/2014/main" id="{AFDB7A2C-995F-E422-0663-4A1860263CAA}"/>
              </a:ext>
            </a:extLst>
          </p:cNvPr>
          <p:cNvSpPr/>
          <p:nvPr userDrawn="1"/>
        </p:nvSpPr>
        <p:spPr>
          <a:xfrm>
            <a:off x="10032023" y="6145823"/>
            <a:ext cx="1943100" cy="52862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609600" y="0"/>
            <a:ext cx="205813" cy="1052736"/>
          </a:xfrm>
          <a:prstGeom prst="rect">
            <a:avLst/>
          </a:prstGeom>
          <a:solidFill>
            <a:srgbClr val="005FAA">
              <a:alpha val="94902"/>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00">
              <a:solidFill>
                <a:schemeClr val="tx1">
                  <a:lumMod val="65000"/>
                  <a:lumOff val="35000"/>
                </a:schemeClr>
              </a:solidFill>
            </a:endParaRPr>
          </a:p>
        </p:txBody>
      </p:sp>
      <p:sp>
        <p:nvSpPr>
          <p:cNvPr id="2"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609600" y="1412776"/>
            <a:ext cx="10972800" cy="4525963"/>
          </a:xfrm>
          <a:prstGeom prst="rect">
            <a:avLst/>
          </a:prstGeom>
        </p:spPr>
        <p:txBody>
          <a:bodyPr vert="horz" lIns="91440" tIns="45720" rIns="91440" bIns="45720" rtlCol="0">
            <a:normAutofit/>
          </a:bodyPr>
          <a:lstStyle/>
          <a:p>
            <a:pPr lvl="0"/>
            <a:r>
              <a:rPr lang="en-US"/>
              <a:t>Click to edit master text styles</a:t>
            </a:r>
          </a:p>
          <a:p>
            <a:pPr lvl="2"/>
            <a:r>
              <a:rPr lang="en-US"/>
              <a:t>Second level</a:t>
            </a:r>
          </a:p>
          <a:p>
            <a:pPr lvl="3"/>
            <a:r>
              <a:rPr lang="en-US"/>
              <a:t>Third level</a:t>
            </a:r>
          </a:p>
          <a:p>
            <a:pPr lvl="4"/>
            <a:r>
              <a:rPr lang="en-US"/>
              <a:t>Fourth level</a:t>
            </a:r>
          </a:p>
          <a:p>
            <a:pPr lvl="5"/>
            <a:r>
              <a:rPr lang="en-US"/>
              <a:t>Fifth level</a:t>
            </a:r>
            <a:endParaRPr lang="en-CA"/>
          </a:p>
        </p:txBody>
      </p:sp>
      <p:sp>
        <p:nvSpPr>
          <p:cNvPr id="6"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solidFill>
              </a:defRPr>
            </a:lvl1pPr>
          </a:lstStyle>
          <a:p>
            <a:fld id="{B6362DDE-5EFE-4D6A-AD62-664744385D96}" type="slidenum">
              <a:rPr lang="en-CA" smtClean="0"/>
              <a:pPr/>
              <a:t>‹#›</a:t>
            </a:fld>
            <a:endParaRPr lang="en-CA"/>
          </a:p>
        </p:txBody>
      </p:sp>
      <p:pic>
        <p:nvPicPr>
          <p:cNvPr id="7" name="Picture 6" descr="A blue text on a black background&#10;&#10;Description automatically generated">
            <a:extLst>
              <a:ext uri="{FF2B5EF4-FFF2-40B4-BE49-F238E27FC236}">
                <a16:creationId xmlns:a16="http://schemas.microsoft.com/office/drawing/2014/main" id="{8F990443-485B-ACA7-B59F-50CC78A3B103}"/>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190547" y="6305742"/>
            <a:ext cx="1465134" cy="351148"/>
          </a:xfrm>
          <a:prstGeom prst="rect">
            <a:avLst/>
          </a:prstGeom>
        </p:spPr>
      </p:pic>
    </p:spTree>
    <p:extLst>
      <p:ext uri="{BB962C8B-B14F-4D97-AF65-F5344CB8AC3E}">
        <p14:creationId xmlns:p14="http://schemas.microsoft.com/office/powerpoint/2010/main" val="844294891"/>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704" r:id="rId12"/>
    <p:sldLayoutId id="2147483705" r:id="rId13"/>
    <p:sldLayoutId id="2147483706" r:id="rId14"/>
    <p:sldLayoutId id="2147483789" r:id="rId15"/>
  </p:sldLayoutIdLst>
  <p:hf sldNum="0" hdr="0" ftr="0" dt="0"/>
  <p:txStyles>
    <p:titleStyle>
      <a:lvl1pPr algn="l" defTabSz="914400" rtl="0" eaLnBrk="1" latinLnBrk="0" hangingPunct="1">
        <a:spcBef>
          <a:spcPct val="0"/>
        </a:spcBef>
        <a:buNone/>
        <a:defRPr lang="en-US" sz="3400" kern="1200" cap="none" baseline="0" smtClean="0">
          <a:solidFill>
            <a:srgbClr val="005FAA"/>
          </a:solidFill>
          <a:latin typeface="Calibri" pitchFamily="34" charset="0"/>
          <a:ea typeface="+mj-ea"/>
          <a:cs typeface="Calibri" pitchFamily="34" charset="0"/>
        </a:defRPr>
      </a:lvl1pPr>
    </p:titleStyle>
    <p:bodyStyle>
      <a:lvl1pPr marL="0" indent="0" algn="l" defTabSz="914400" rtl="0" eaLnBrk="1" latinLnBrk="0" hangingPunct="1">
        <a:spcBef>
          <a:spcPct val="20000"/>
        </a:spcBef>
        <a:buClr>
          <a:schemeClr val="bg1"/>
        </a:buClr>
        <a:buFont typeface="Arial" pitchFamily="34" charset="0"/>
        <a:buChar char="•"/>
        <a:defRPr sz="3000" kern="1200" cap="none"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Clr>
          <a:schemeClr val="accent6"/>
        </a:buClr>
        <a:buFont typeface="Wingdings" pitchFamily="2" charset="2"/>
        <a:buChar char="§"/>
        <a:defRPr sz="2800" kern="1200">
          <a:solidFill>
            <a:schemeClr val="tx1"/>
          </a:solidFill>
          <a:latin typeface="Corbel" pitchFamily="34" charset="0"/>
          <a:ea typeface="+mn-ea"/>
          <a:cs typeface="+mn-cs"/>
        </a:defRPr>
      </a:lvl2pPr>
      <a:lvl3pPr marL="627063" indent="-263525" algn="l" defTabSz="914400" rtl="0" eaLnBrk="1" latinLnBrk="0" hangingPunct="1">
        <a:spcBef>
          <a:spcPct val="20000"/>
        </a:spcBef>
        <a:buClr>
          <a:srgbClr val="005FAA"/>
        </a:buClr>
        <a:buFont typeface="Wingdings" pitchFamily="2" charset="2"/>
        <a:buChar char="§"/>
        <a:defRPr sz="2800" kern="1200">
          <a:solidFill>
            <a:schemeClr val="tx1"/>
          </a:solidFill>
          <a:latin typeface="Calibri" pitchFamily="34" charset="0"/>
          <a:ea typeface="+mn-ea"/>
          <a:cs typeface="Calibri" pitchFamily="34" charset="0"/>
        </a:defRPr>
      </a:lvl3pPr>
      <a:lvl4pPr marL="1165225" indent="-263525" algn="l" defTabSz="914400" rtl="0" eaLnBrk="1" latinLnBrk="0" hangingPunct="1">
        <a:spcBef>
          <a:spcPct val="20000"/>
        </a:spcBef>
        <a:buClr>
          <a:srgbClr val="005FAA"/>
        </a:buClr>
        <a:buFont typeface="Arial" pitchFamily="34" charset="0"/>
        <a:buChar char="•"/>
        <a:defRPr sz="2400" kern="1200">
          <a:solidFill>
            <a:schemeClr val="tx1"/>
          </a:solidFill>
          <a:latin typeface="Calibri" pitchFamily="34" charset="0"/>
          <a:ea typeface="+mn-ea"/>
          <a:cs typeface="Calibri" pitchFamily="34" charset="0"/>
        </a:defRPr>
      </a:lvl4pPr>
      <a:lvl5pPr marL="1706563" indent="-228600" algn="l" defTabSz="914400" rtl="0" eaLnBrk="1" latinLnBrk="0" hangingPunct="1">
        <a:spcBef>
          <a:spcPct val="20000"/>
        </a:spcBef>
        <a:buClr>
          <a:srgbClr val="005FAA"/>
        </a:buClr>
        <a:buFont typeface="Corbel" pitchFamily="34" charset="0"/>
        <a:buChar char="–"/>
        <a:defRPr sz="2000" kern="1200">
          <a:solidFill>
            <a:schemeClr val="tx1"/>
          </a:solidFill>
          <a:latin typeface="Calibri" pitchFamily="34" charset="0"/>
          <a:ea typeface="+mn-ea"/>
          <a:cs typeface="Calibri" pitchFamily="34" charset="0"/>
        </a:defRPr>
      </a:lvl5pPr>
      <a:lvl6pPr marL="2241550" indent="-261938" algn="l" defTabSz="914400" rtl="0" eaLnBrk="1" latinLnBrk="0" hangingPunct="1">
        <a:spcBef>
          <a:spcPct val="20000"/>
        </a:spcBef>
        <a:buClr>
          <a:srgbClr val="005FAA"/>
        </a:buClr>
        <a:buFont typeface="Arial" pitchFamily="34" charset="0"/>
        <a:buChar char="»"/>
        <a:defRPr sz="1600" kern="1200">
          <a:solidFill>
            <a:schemeClr val="tx1"/>
          </a:solidFill>
          <a:latin typeface="Calibri" pitchFamily="34" charset="0"/>
          <a:ea typeface="+mn-ea"/>
          <a:cs typeface="Calibri"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2" y="0"/>
            <a:ext cx="12191999" cy="6857998"/>
          </a:xfrm>
          <a:prstGeom prst="rect">
            <a:avLst/>
          </a:prstGeom>
        </p:spPr>
      </p:pic>
      <p:sp>
        <p:nvSpPr>
          <p:cNvPr id="12" name="Rectangle 11"/>
          <p:cNvSpPr/>
          <p:nvPr userDrawn="1"/>
        </p:nvSpPr>
        <p:spPr>
          <a:xfrm>
            <a:off x="609600" y="0"/>
            <a:ext cx="205813" cy="1052736"/>
          </a:xfrm>
          <a:prstGeom prst="rect">
            <a:avLst/>
          </a:prstGeom>
          <a:solidFill>
            <a:srgbClr val="005FAA">
              <a:alpha val="94902"/>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00">
              <a:solidFill>
                <a:schemeClr val="tx1">
                  <a:lumMod val="65000"/>
                  <a:lumOff val="35000"/>
                </a:schemeClr>
              </a:solidFill>
            </a:endParaRPr>
          </a:p>
        </p:txBody>
      </p:sp>
      <p:sp>
        <p:nvSpPr>
          <p:cNvPr id="2" name="Title Placeholder 1"/>
          <p:cNvSpPr>
            <a:spLocks noGrp="1"/>
          </p:cNvSpPr>
          <p:nvPr>
            <p:ph type="title"/>
          </p:nvPr>
        </p:nvSpPr>
        <p:spPr>
          <a:xfrm>
            <a:off x="1007436" y="44624"/>
            <a:ext cx="10574965" cy="980728"/>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609600" y="1412776"/>
            <a:ext cx="10972800" cy="4525963"/>
          </a:xfrm>
          <a:prstGeom prst="rect">
            <a:avLst/>
          </a:prstGeom>
        </p:spPr>
        <p:txBody>
          <a:bodyPr vert="horz" lIns="91440" tIns="45720" rIns="91440" bIns="45720" rtlCol="0">
            <a:normAutofit/>
          </a:bodyPr>
          <a:lstStyle/>
          <a:p>
            <a:pPr lvl="0"/>
            <a:r>
              <a:rPr lang="en-US"/>
              <a:t>Click to edit master text styles</a:t>
            </a:r>
          </a:p>
          <a:p>
            <a:pPr lvl="2"/>
            <a:r>
              <a:rPr lang="en-US"/>
              <a:t>Second level</a:t>
            </a:r>
          </a:p>
          <a:p>
            <a:pPr lvl="3"/>
            <a:r>
              <a:rPr lang="en-US"/>
              <a:t>Third level</a:t>
            </a:r>
          </a:p>
          <a:p>
            <a:pPr lvl="4"/>
            <a:r>
              <a:rPr lang="en-US"/>
              <a:t>Fourth level</a:t>
            </a:r>
          </a:p>
          <a:p>
            <a:pPr lvl="5"/>
            <a:r>
              <a:rPr lang="en-US"/>
              <a:t>Fifth level</a:t>
            </a:r>
            <a:endParaRPr lang="en-CA"/>
          </a:p>
        </p:txBody>
      </p:sp>
      <p:sp>
        <p:nvSpPr>
          <p:cNvPr id="6" name="Slide Number Placeholder 5"/>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solidFill>
              </a:defRPr>
            </a:lvl1pPr>
          </a:lstStyle>
          <a:p>
            <a:fld id="{B6362DDE-5EFE-4D6A-AD62-664744385D96}" type="slidenum">
              <a:rPr lang="en-CA" smtClean="0"/>
              <a:pPr/>
              <a:t>‹#›</a:t>
            </a:fld>
            <a:endParaRPr lang="en-CA"/>
          </a:p>
        </p:txBody>
      </p:sp>
      <p:sp>
        <p:nvSpPr>
          <p:cNvPr id="4" name="Rectangle 3">
            <a:extLst>
              <a:ext uri="{FF2B5EF4-FFF2-40B4-BE49-F238E27FC236}">
                <a16:creationId xmlns:a16="http://schemas.microsoft.com/office/drawing/2014/main" id="{757FCF5C-1330-5A35-5291-F11BD90F5E2A}"/>
              </a:ext>
            </a:extLst>
          </p:cNvPr>
          <p:cNvSpPr/>
          <p:nvPr userDrawn="1"/>
        </p:nvSpPr>
        <p:spPr>
          <a:xfrm>
            <a:off x="9882554" y="6075485"/>
            <a:ext cx="2110154" cy="5989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blue text on a black background&#10;&#10;Description automatically generated">
            <a:extLst>
              <a:ext uri="{FF2B5EF4-FFF2-40B4-BE49-F238E27FC236}">
                <a16:creationId xmlns:a16="http://schemas.microsoft.com/office/drawing/2014/main" id="{1BCF765D-6980-94F4-F0DF-41C5D554683E}"/>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190547" y="6305742"/>
            <a:ext cx="1465134" cy="351148"/>
          </a:xfrm>
          <a:prstGeom prst="rect">
            <a:avLst/>
          </a:prstGeom>
        </p:spPr>
      </p:pic>
    </p:spTree>
    <p:extLst>
      <p:ext uri="{BB962C8B-B14F-4D97-AF65-F5344CB8AC3E}">
        <p14:creationId xmlns:p14="http://schemas.microsoft.com/office/powerpoint/2010/main" val="844294891"/>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Lst>
  <p:hf sldNum="0" hdr="0" ftr="0" dt="0"/>
  <p:txStyles>
    <p:titleStyle>
      <a:lvl1pPr algn="l" defTabSz="914400" rtl="0" eaLnBrk="1" latinLnBrk="0" hangingPunct="1">
        <a:spcBef>
          <a:spcPct val="0"/>
        </a:spcBef>
        <a:buNone/>
        <a:defRPr lang="en-US" sz="3400" kern="1200" cap="none" baseline="0" smtClean="0">
          <a:solidFill>
            <a:srgbClr val="005FAA"/>
          </a:solidFill>
          <a:latin typeface="Calibri" pitchFamily="34" charset="0"/>
          <a:ea typeface="+mj-ea"/>
          <a:cs typeface="Calibri" pitchFamily="34" charset="0"/>
        </a:defRPr>
      </a:lvl1pPr>
    </p:titleStyle>
    <p:bodyStyle>
      <a:lvl1pPr marL="0" indent="0" algn="l" defTabSz="914400" rtl="0" eaLnBrk="1" latinLnBrk="0" hangingPunct="1">
        <a:spcBef>
          <a:spcPct val="20000"/>
        </a:spcBef>
        <a:buClr>
          <a:schemeClr val="bg1"/>
        </a:buClr>
        <a:buFont typeface="Arial" pitchFamily="34" charset="0"/>
        <a:buChar char="•"/>
        <a:defRPr sz="3000" kern="1200" cap="none" baseline="0">
          <a:solidFill>
            <a:schemeClr val="tx1"/>
          </a:solidFill>
          <a:latin typeface="Calibri" pitchFamily="34" charset="0"/>
          <a:ea typeface="+mn-ea"/>
          <a:cs typeface="Calibri" pitchFamily="34" charset="0"/>
        </a:defRPr>
      </a:lvl1pPr>
      <a:lvl2pPr marL="742950" indent="-285750" algn="l" defTabSz="914400" rtl="0" eaLnBrk="1" latinLnBrk="0" hangingPunct="1">
        <a:spcBef>
          <a:spcPct val="20000"/>
        </a:spcBef>
        <a:buClr>
          <a:schemeClr val="accent6"/>
        </a:buClr>
        <a:buFont typeface="Wingdings" pitchFamily="2" charset="2"/>
        <a:buChar char="§"/>
        <a:defRPr sz="2800" kern="1200">
          <a:solidFill>
            <a:schemeClr val="tx1"/>
          </a:solidFill>
          <a:latin typeface="Corbel" pitchFamily="34" charset="0"/>
          <a:ea typeface="+mn-ea"/>
          <a:cs typeface="+mn-cs"/>
        </a:defRPr>
      </a:lvl2pPr>
      <a:lvl3pPr marL="627063" indent="-263525" algn="l" defTabSz="914400" rtl="0" eaLnBrk="1" latinLnBrk="0" hangingPunct="1">
        <a:spcBef>
          <a:spcPct val="20000"/>
        </a:spcBef>
        <a:buClr>
          <a:srgbClr val="005FAA"/>
        </a:buClr>
        <a:buFont typeface="Wingdings" pitchFamily="2" charset="2"/>
        <a:buChar char="§"/>
        <a:defRPr sz="2800" kern="1200">
          <a:solidFill>
            <a:schemeClr val="tx1"/>
          </a:solidFill>
          <a:latin typeface="Calibri" pitchFamily="34" charset="0"/>
          <a:ea typeface="+mn-ea"/>
          <a:cs typeface="Calibri" pitchFamily="34" charset="0"/>
        </a:defRPr>
      </a:lvl3pPr>
      <a:lvl4pPr marL="1165225" indent="-263525" algn="l" defTabSz="914400" rtl="0" eaLnBrk="1" latinLnBrk="0" hangingPunct="1">
        <a:spcBef>
          <a:spcPct val="20000"/>
        </a:spcBef>
        <a:buClr>
          <a:srgbClr val="005FAA"/>
        </a:buClr>
        <a:buFont typeface="Arial" pitchFamily="34" charset="0"/>
        <a:buChar char="•"/>
        <a:defRPr sz="2400" kern="1200">
          <a:solidFill>
            <a:schemeClr val="tx1"/>
          </a:solidFill>
          <a:latin typeface="Calibri" pitchFamily="34" charset="0"/>
          <a:ea typeface="+mn-ea"/>
          <a:cs typeface="Calibri" pitchFamily="34" charset="0"/>
        </a:defRPr>
      </a:lvl4pPr>
      <a:lvl5pPr marL="1706563" indent="-228600" algn="l" defTabSz="914400" rtl="0" eaLnBrk="1" latinLnBrk="0" hangingPunct="1">
        <a:spcBef>
          <a:spcPct val="20000"/>
        </a:spcBef>
        <a:buClr>
          <a:srgbClr val="005FAA"/>
        </a:buClr>
        <a:buFont typeface="Corbel" pitchFamily="34" charset="0"/>
        <a:buChar char="–"/>
        <a:defRPr sz="2000" kern="1200">
          <a:solidFill>
            <a:schemeClr val="tx1"/>
          </a:solidFill>
          <a:latin typeface="Calibri" pitchFamily="34" charset="0"/>
          <a:ea typeface="+mn-ea"/>
          <a:cs typeface="Calibri" pitchFamily="34" charset="0"/>
        </a:defRPr>
      </a:lvl5pPr>
      <a:lvl6pPr marL="2241550" indent="-261938" algn="l" defTabSz="914400" rtl="0" eaLnBrk="1" latinLnBrk="0" hangingPunct="1">
        <a:spcBef>
          <a:spcPct val="20000"/>
        </a:spcBef>
        <a:buClr>
          <a:srgbClr val="005FAA"/>
        </a:buClr>
        <a:buFont typeface="Arial" pitchFamily="34" charset="0"/>
        <a:buChar char="»"/>
        <a:defRPr sz="1600" kern="1200">
          <a:solidFill>
            <a:schemeClr val="tx1"/>
          </a:solidFill>
          <a:latin typeface="Calibri" pitchFamily="34" charset="0"/>
          <a:ea typeface="+mn-ea"/>
          <a:cs typeface="Calibri"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2.xml"/><Relationship Id="rId7" Type="http://schemas.openxmlformats.org/officeDocument/2006/relationships/image" Target="../media/image19.jpeg"/><Relationship Id="rId2" Type="http://schemas.openxmlformats.org/officeDocument/2006/relationships/slideLayout" Target="../slideLayouts/slideLayout40.xml"/><Relationship Id="rId1" Type="http://schemas.openxmlformats.org/officeDocument/2006/relationships/tags" Target="../tags/tag5.xml"/><Relationship Id="rId6" Type="http://schemas.openxmlformats.org/officeDocument/2006/relationships/image" Target="../media/image21.png"/><Relationship Id="rId11" Type="http://schemas.openxmlformats.org/officeDocument/2006/relationships/image" Target="../media/image25.jpeg"/><Relationship Id="rId5" Type="http://schemas.openxmlformats.org/officeDocument/2006/relationships/image" Target="../media/image29.svg"/><Relationship Id="rId10" Type="http://schemas.openxmlformats.org/officeDocument/2006/relationships/image" Target="../media/image24.jpeg"/><Relationship Id="rId4" Type="http://schemas.openxmlformats.org/officeDocument/2006/relationships/image" Target="../media/image20.png"/><Relationship Id="rId9" Type="http://schemas.openxmlformats.org/officeDocument/2006/relationships/image" Target="../media/image23.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28.xml"/><Relationship Id="rId18" Type="http://schemas.openxmlformats.org/officeDocument/2006/relationships/diagramQuickStyle" Target="../diagrams/quickStyle1.xml"/><Relationship Id="rId3" Type="http://schemas.openxmlformats.org/officeDocument/2006/relationships/tags" Target="../tags/tag8.xml"/><Relationship Id="rId21" Type="http://schemas.openxmlformats.org/officeDocument/2006/relationships/image" Target="../media/image27.png"/><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diagramLayout" Target="../diagrams/layout1.xml"/><Relationship Id="rId2" Type="http://schemas.openxmlformats.org/officeDocument/2006/relationships/tags" Target="../tags/tag7.xml"/><Relationship Id="rId16" Type="http://schemas.openxmlformats.org/officeDocument/2006/relationships/diagramData" Target="../diagrams/data1.xml"/><Relationship Id="rId20" Type="http://schemas.microsoft.com/office/2007/relationships/diagramDrawing" Target="../diagrams/drawing1.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microsoft.com/office/2007/relationships/hdphoto" Target="../media/hdphoto2.wdp"/><Relationship Id="rId10" Type="http://schemas.openxmlformats.org/officeDocument/2006/relationships/tags" Target="../tags/tag15.xml"/><Relationship Id="rId19" Type="http://schemas.openxmlformats.org/officeDocument/2006/relationships/diagramColors" Target="../diagrams/colors1.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2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F26CC-4E08-1502-1E1C-2B6F7C17BCE4}"/>
              </a:ext>
            </a:extLst>
          </p:cNvPr>
          <p:cNvSpPr>
            <a:spLocks noGrp="1"/>
          </p:cNvSpPr>
          <p:nvPr>
            <p:ph type="ctrTitle"/>
          </p:nvPr>
        </p:nvSpPr>
        <p:spPr>
          <a:xfrm>
            <a:off x="3509301" y="3645025"/>
            <a:ext cx="8160907" cy="838200"/>
          </a:xfrm>
        </p:spPr>
        <p:txBody>
          <a:bodyPr>
            <a:normAutofit fontScale="90000"/>
          </a:bodyPr>
          <a:lstStyle/>
          <a:p>
            <a:r>
              <a:rPr lang="en-US" sz="3200" dirty="0">
                <a:latin typeface="Calibri"/>
                <a:cs typeface="Calibri"/>
              </a:rPr>
              <a:t>Natural Gas Facilities Relocation Cost Recovery Clause Rule Development Workshop</a:t>
            </a:r>
            <a:br>
              <a:rPr lang="en-US" sz="3200" dirty="0">
                <a:latin typeface="Calibri"/>
                <a:cs typeface="Calibri"/>
              </a:rPr>
            </a:br>
            <a:endParaRPr lang="en-US" sz="3200" dirty="0"/>
          </a:p>
        </p:txBody>
      </p:sp>
      <p:sp>
        <p:nvSpPr>
          <p:cNvPr id="3" name="Subtitle 2">
            <a:extLst>
              <a:ext uri="{FF2B5EF4-FFF2-40B4-BE49-F238E27FC236}">
                <a16:creationId xmlns:a16="http://schemas.microsoft.com/office/drawing/2014/main" id="{A74115CB-0FAF-EE30-1201-442E7B85AEA6}"/>
              </a:ext>
            </a:extLst>
          </p:cNvPr>
          <p:cNvSpPr>
            <a:spLocks noGrp="1"/>
          </p:cNvSpPr>
          <p:nvPr>
            <p:ph type="subTitle" idx="1"/>
          </p:nvPr>
        </p:nvSpPr>
        <p:spPr/>
        <p:txBody>
          <a:bodyPr>
            <a:normAutofit/>
          </a:bodyPr>
          <a:lstStyle/>
          <a:p>
            <a:r>
              <a:rPr lang="en-US" sz="1600">
                <a:latin typeface="Calibri"/>
                <a:cs typeface="Calibri"/>
              </a:rPr>
              <a:t>December 16, 2024</a:t>
            </a:r>
            <a:endParaRPr lang="en-US" sz="1600">
              <a:ea typeface="Calibri"/>
            </a:endParaRPr>
          </a:p>
        </p:txBody>
      </p:sp>
    </p:spTree>
    <p:extLst>
      <p:ext uri="{BB962C8B-B14F-4D97-AF65-F5344CB8AC3E}">
        <p14:creationId xmlns:p14="http://schemas.microsoft.com/office/powerpoint/2010/main" val="23751404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20210C1-29D2-23A0-22C5-1280339B6555}"/>
              </a:ext>
            </a:extLst>
          </p:cNvPr>
          <p:cNvSpPr>
            <a:spLocks noGrp="1"/>
          </p:cNvSpPr>
          <p:nvPr>
            <p:ph idx="1"/>
          </p:nvPr>
        </p:nvSpPr>
        <p:spPr/>
        <p:txBody>
          <a:bodyPr/>
          <a:lstStyle/>
          <a:p>
            <a:pPr marL="457200" indent="-457200">
              <a:buClr>
                <a:schemeClr val="tx1"/>
              </a:buClr>
              <a:buFont typeface="Wingdings" panose="05000000000000000000" pitchFamily="2" charset="2"/>
              <a:buChar char="§"/>
            </a:pPr>
            <a:r>
              <a:rPr lang="en-US" dirty="0"/>
              <a:t>Questions</a:t>
            </a:r>
          </a:p>
          <a:p>
            <a:pPr marL="457200" indent="-457200">
              <a:buClr>
                <a:schemeClr val="tx1"/>
              </a:buClr>
              <a:buFont typeface="Wingdings" panose="05000000000000000000" pitchFamily="2" charset="2"/>
              <a:buChar char="§"/>
            </a:pPr>
            <a:r>
              <a:rPr lang="en-US"/>
              <a:t>Additional information required</a:t>
            </a:r>
          </a:p>
          <a:p>
            <a:pPr marL="457200" indent="-457200">
              <a:buClr>
                <a:schemeClr val="tx1"/>
              </a:buClr>
              <a:buFont typeface="Wingdings" panose="05000000000000000000" pitchFamily="2" charset="2"/>
              <a:buChar char="§"/>
            </a:pPr>
            <a:endParaRPr lang="en-US" dirty="0"/>
          </a:p>
        </p:txBody>
      </p:sp>
      <p:sp>
        <p:nvSpPr>
          <p:cNvPr id="3" name="Title 2">
            <a:extLst>
              <a:ext uri="{FF2B5EF4-FFF2-40B4-BE49-F238E27FC236}">
                <a16:creationId xmlns:a16="http://schemas.microsoft.com/office/drawing/2014/main" id="{55CB665F-550B-F71F-0A64-5B879818D477}"/>
              </a:ext>
            </a:extLst>
          </p:cNvPr>
          <p:cNvSpPr>
            <a:spLocks noGrp="1"/>
          </p:cNvSpPr>
          <p:nvPr>
            <p:ph type="title"/>
          </p:nvPr>
        </p:nvSpPr>
        <p:spPr/>
        <p:txBody>
          <a:bodyPr/>
          <a:lstStyle/>
          <a:p>
            <a:r>
              <a:rPr lang="en-US" dirty="0"/>
              <a:t>Next Steps</a:t>
            </a:r>
          </a:p>
        </p:txBody>
      </p:sp>
    </p:spTree>
    <p:extLst>
      <p:ext uri="{BB962C8B-B14F-4D97-AF65-F5344CB8AC3E}">
        <p14:creationId xmlns:p14="http://schemas.microsoft.com/office/powerpoint/2010/main" val="17873105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B895C1-D92E-3D25-A6FE-6568B9C8719A}"/>
              </a:ext>
            </a:extLst>
          </p:cNvPr>
          <p:cNvSpPr>
            <a:spLocks noGrp="1"/>
          </p:cNvSpPr>
          <p:nvPr>
            <p:ph type="title"/>
          </p:nvPr>
        </p:nvSpPr>
        <p:spPr>
          <a:xfrm>
            <a:off x="1115591" y="162611"/>
            <a:ext cx="10574965" cy="980728"/>
          </a:xfrm>
        </p:spPr>
        <p:txBody>
          <a:bodyPr/>
          <a:lstStyle/>
          <a:p>
            <a:r>
              <a:rPr lang="en-US" dirty="0"/>
              <a:t>Thank you and Introductions</a:t>
            </a:r>
          </a:p>
        </p:txBody>
      </p:sp>
    </p:spTree>
    <p:extLst>
      <p:ext uri="{BB962C8B-B14F-4D97-AF65-F5344CB8AC3E}">
        <p14:creationId xmlns:p14="http://schemas.microsoft.com/office/powerpoint/2010/main" val="1528019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2FA9BC2-C3BD-5FF3-1169-34B3C01496FF}"/>
              </a:ext>
            </a:extLst>
          </p:cNvPr>
          <p:cNvSpPr>
            <a:spLocks noGrp="1"/>
          </p:cNvSpPr>
          <p:nvPr>
            <p:ph idx="1"/>
          </p:nvPr>
        </p:nvSpPr>
        <p:spPr>
          <a:xfrm>
            <a:off x="623392" y="1412776"/>
            <a:ext cx="5304332" cy="4536504"/>
          </a:xfrm>
        </p:spPr>
        <p:txBody>
          <a:bodyPr/>
          <a:lstStyle/>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800" b="1" i="0" u="none" strike="noStrike" kern="1200" cap="all" spc="100" normalizeH="0" baseline="0" noProof="0" dirty="0">
                <a:ln>
                  <a:noFill/>
                </a:ln>
                <a:solidFill>
                  <a:srgbClr val="111111"/>
                </a:solidFill>
                <a:effectLst/>
                <a:uLnTx/>
                <a:uFillTx/>
                <a:latin typeface="Calibri"/>
                <a:ea typeface="Calibri"/>
                <a:cs typeface="Calibri"/>
              </a:rPr>
              <a:t>Shopping Online</a:t>
            </a:r>
            <a:endParaRPr kumimoji="0" lang="en-US" sz="1800" b="0" i="0" u="none" strike="noStrike" kern="1200" cap="all" spc="100" normalizeH="0" baseline="0" noProof="0" dirty="0">
              <a:ln>
                <a:noFill/>
              </a:ln>
              <a:solidFill>
                <a:srgbClr val="111111"/>
              </a:solidFill>
              <a:effectLst/>
              <a:uLnTx/>
              <a:uFillTx/>
              <a:latin typeface="Calibri"/>
              <a:ea typeface="Calibri"/>
              <a:cs typeface="Calibri"/>
            </a:endParaRPr>
          </a:p>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400" b="1" i="0" u="none" strike="noStrike" kern="1200" cap="all" spc="100" normalizeH="0" baseline="0" noProof="0" dirty="0">
                <a:ln>
                  <a:noFill/>
                </a:ln>
                <a:solidFill>
                  <a:srgbClr val="1B5EAC"/>
                </a:solidFill>
                <a:effectLst/>
                <a:uLnTx/>
                <a:uFillTx/>
                <a:latin typeface="Calibri"/>
                <a:ea typeface="Calibri"/>
                <a:cs typeface="Calibri"/>
              </a:rPr>
              <a:t>Check your devices</a:t>
            </a:r>
            <a:endParaRPr kumimoji="0" lang="en-US" sz="1400" b="0" i="0" u="none" strike="noStrike" kern="1200" cap="all" spc="100" normalizeH="0" baseline="0" noProof="0" dirty="0">
              <a:ln>
                <a:noFill/>
              </a:ln>
              <a:solidFill>
                <a:srgbClr val="1B5EAC"/>
              </a:solidFill>
              <a:effectLst/>
              <a:uLnTx/>
              <a:uFillTx/>
              <a:latin typeface="Calibri"/>
              <a:ea typeface="Calibri"/>
              <a:cs typeface="Calibri"/>
            </a:endParaRPr>
          </a:p>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200" b="0" i="0" u="none" strike="noStrike" kern="1200" cap="none" spc="100" normalizeH="0" baseline="0" noProof="0" dirty="0">
                <a:ln>
                  <a:noFill/>
                </a:ln>
                <a:solidFill>
                  <a:srgbClr val="111111"/>
                </a:solidFill>
                <a:effectLst/>
                <a:uLnTx/>
                <a:uFillTx/>
                <a:latin typeface="Calibri"/>
                <a:ea typeface="Calibri"/>
                <a:cs typeface="Calibri"/>
              </a:rPr>
              <a:t>Before making any online purchases, make sure the device you’re using to shop online is up-to-date. Use strong passwords or two-factor authentication.</a:t>
            </a:r>
          </a:p>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400" b="1" i="0" u="none" strike="noStrike" kern="1200" cap="all" spc="100" normalizeH="0" baseline="0" noProof="0" dirty="0">
                <a:ln>
                  <a:noFill/>
                </a:ln>
                <a:solidFill>
                  <a:srgbClr val="1B5EAC"/>
                </a:solidFill>
                <a:effectLst/>
                <a:uLnTx/>
                <a:uFillTx/>
                <a:latin typeface="Calibri"/>
                <a:ea typeface="Calibri"/>
                <a:cs typeface="Calibri"/>
              </a:rPr>
              <a:t>Only shop through trusted sources</a:t>
            </a:r>
          </a:p>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200" b="0" i="0" u="none" strike="noStrike" kern="1200" cap="none" spc="100" normalizeH="0" baseline="0" noProof="0" dirty="0">
                <a:ln>
                  <a:noFill/>
                </a:ln>
                <a:solidFill>
                  <a:srgbClr val="000000"/>
                </a:solidFill>
                <a:effectLst/>
                <a:uLnTx/>
                <a:uFillTx/>
                <a:latin typeface="Calibri" panose="020F0502020204030204"/>
                <a:ea typeface="+mn-ea"/>
                <a:cs typeface="+mn-cs"/>
              </a:rPr>
              <a:t>Be careful when searching online. Are you searching from home, on public wi-fi? How are you finding the deals? Are you clicking on links in emails? Going to trusted vendors? Clicking on ads on web pages? If it looks suspicious, something’s probably not right.</a:t>
            </a:r>
          </a:p>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400" b="1" i="0" u="none" strike="noStrike" kern="1200" cap="all" spc="100" normalizeH="0" baseline="0" noProof="0" dirty="0">
                <a:ln>
                  <a:noFill/>
                </a:ln>
                <a:solidFill>
                  <a:srgbClr val="1B5EAC"/>
                </a:solidFill>
                <a:effectLst/>
                <a:uLnTx/>
                <a:uFillTx/>
                <a:latin typeface="Calibri"/>
                <a:ea typeface="+mn-ea"/>
                <a:cs typeface="Calibri"/>
              </a:rPr>
              <a:t>Use Safe Methods for Purchases</a:t>
            </a:r>
          </a:p>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200" b="0" i="0" u="none" strike="noStrike" kern="1200" cap="none" spc="100" normalizeH="0" baseline="0" noProof="0" dirty="0">
                <a:ln>
                  <a:noFill/>
                </a:ln>
                <a:solidFill>
                  <a:srgbClr val="000000"/>
                </a:solidFill>
                <a:effectLst/>
                <a:uLnTx/>
                <a:uFillTx/>
                <a:latin typeface="Calibri" panose="020F0502020204030204"/>
                <a:ea typeface="+mn-ea"/>
                <a:cs typeface="+mn-cs"/>
              </a:rPr>
              <a:t>Before providing personal or financial information, check the website’s privacy policy. Make sure you understand how your information will be stored and used.</a:t>
            </a:r>
          </a:p>
          <a:p>
            <a:endParaRPr lang="en-US" dirty="0"/>
          </a:p>
        </p:txBody>
      </p:sp>
      <p:sp>
        <p:nvSpPr>
          <p:cNvPr id="2" name="Title 1">
            <a:extLst>
              <a:ext uri="{FF2B5EF4-FFF2-40B4-BE49-F238E27FC236}">
                <a16:creationId xmlns:a16="http://schemas.microsoft.com/office/drawing/2014/main" id="{E196A475-E279-0F36-E73A-BED55C0F7A10}"/>
              </a:ext>
            </a:extLst>
          </p:cNvPr>
          <p:cNvSpPr>
            <a:spLocks noGrp="1"/>
          </p:cNvSpPr>
          <p:nvPr>
            <p:ph type="title"/>
          </p:nvPr>
        </p:nvSpPr>
        <p:spPr>
          <a:xfrm>
            <a:off x="916467" y="46659"/>
            <a:ext cx="10574965" cy="980728"/>
          </a:xfrm>
        </p:spPr>
        <p:txBody>
          <a:bodyPr/>
          <a:lstStyle/>
          <a:p>
            <a:r>
              <a:rPr lang="en-US" dirty="0"/>
              <a:t>Safety Tip</a:t>
            </a:r>
          </a:p>
        </p:txBody>
      </p:sp>
      <p:sp>
        <p:nvSpPr>
          <p:cNvPr id="6" name="TextBox 5">
            <a:extLst>
              <a:ext uri="{FF2B5EF4-FFF2-40B4-BE49-F238E27FC236}">
                <a16:creationId xmlns:a16="http://schemas.microsoft.com/office/drawing/2014/main" id="{5804A352-F1F1-E84F-EA7B-99D7C1911874}"/>
              </a:ext>
            </a:extLst>
          </p:cNvPr>
          <p:cNvSpPr txBox="1"/>
          <p:nvPr/>
        </p:nvSpPr>
        <p:spPr>
          <a:xfrm>
            <a:off x="5988050" y="2918448"/>
            <a:ext cx="5784850" cy="810991"/>
          </a:xfrm>
          <a:prstGeom prst="rect">
            <a:avLst/>
          </a:prstGeom>
          <a:noFill/>
        </p:spPr>
        <p:txBody>
          <a:bodyPr wrap="square">
            <a:spAutoFit/>
          </a:bodyPr>
          <a:lstStyle/>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400" b="1" i="0" u="none" strike="noStrike" kern="1200" cap="all" spc="100" normalizeH="0" baseline="0" noProof="0" dirty="0">
                <a:ln>
                  <a:noFill/>
                </a:ln>
                <a:solidFill>
                  <a:srgbClr val="1B5EAC"/>
                </a:solidFill>
                <a:effectLst/>
                <a:uLnTx/>
                <a:uFillTx/>
                <a:latin typeface="Calibri"/>
                <a:ea typeface="Calibri"/>
                <a:cs typeface="Calibri"/>
              </a:rPr>
              <a:t>Hide Your purchases</a:t>
            </a:r>
          </a:p>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200" b="0" i="0" u="none" strike="noStrike" kern="1200" cap="none" spc="100" normalizeH="0" baseline="0" noProof="0" dirty="0">
                <a:ln>
                  <a:noFill/>
                </a:ln>
                <a:solidFill>
                  <a:srgbClr val="000000"/>
                </a:solidFill>
                <a:effectLst/>
                <a:uLnTx/>
                <a:uFillTx/>
                <a:latin typeface="Calibri" panose="020F0502020204030204"/>
                <a:ea typeface="+mn-ea"/>
                <a:cs typeface="+mn-cs"/>
              </a:rPr>
              <a:t>Packages and bags in plain sight can be tempting to thieves. Place items in your trunk or hide them under a towel or blanket in your backseat.</a:t>
            </a:r>
            <a:endParaRPr kumimoji="0" lang="en-US" sz="1400" b="1" i="0" u="none" strike="noStrike" kern="1200" cap="all" spc="100" normalizeH="0" baseline="0" noProof="0" dirty="0">
              <a:ln>
                <a:noFill/>
              </a:ln>
              <a:solidFill>
                <a:srgbClr val="1B5EAC"/>
              </a:solidFill>
              <a:effectLst/>
              <a:uLnTx/>
              <a:uFillTx/>
              <a:latin typeface="Calibri"/>
              <a:ea typeface="Calibri"/>
              <a:cs typeface="Calibri"/>
            </a:endParaRPr>
          </a:p>
        </p:txBody>
      </p:sp>
      <p:sp>
        <p:nvSpPr>
          <p:cNvPr id="10" name="TextBox 9">
            <a:extLst>
              <a:ext uri="{FF2B5EF4-FFF2-40B4-BE49-F238E27FC236}">
                <a16:creationId xmlns:a16="http://schemas.microsoft.com/office/drawing/2014/main" id="{AD9A41A0-7C51-5F92-5C3A-DACF5E7A504F}"/>
              </a:ext>
            </a:extLst>
          </p:cNvPr>
          <p:cNvSpPr txBox="1"/>
          <p:nvPr/>
        </p:nvSpPr>
        <p:spPr>
          <a:xfrm>
            <a:off x="850900" y="803045"/>
            <a:ext cx="3448050" cy="307777"/>
          </a:xfrm>
          <a:prstGeom prst="rect">
            <a:avLst/>
          </a:prstGeom>
          <a:noFill/>
        </p:spPr>
        <p:txBody>
          <a:bodyPr wrap="square">
            <a:spAutoFit/>
          </a:bodyPr>
          <a:lstStyle/>
          <a:p>
            <a:r>
              <a:rPr lang="en-US" sz="1400" dirty="0">
                <a:solidFill>
                  <a:schemeClr val="bg1">
                    <a:lumMod val="50000"/>
                  </a:schemeClr>
                </a:solidFill>
              </a:rPr>
              <a:t>HOLIDAY SHOPPING SAFETY</a:t>
            </a:r>
          </a:p>
        </p:txBody>
      </p:sp>
      <p:sp>
        <p:nvSpPr>
          <p:cNvPr id="12" name="TextBox 11">
            <a:extLst>
              <a:ext uri="{FF2B5EF4-FFF2-40B4-BE49-F238E27FC236}">
                <a16:creationId xmlns:a16="http://schemas.microsoft.com/office/drawing/2014/main" id="{9D4D6D04-FF26-9B14-2F0E-51E0E7AE39A8}"/>
              </a:ext>
            </a:extLst>
          </p:cNvPr>
          <p:cNvSpPr txBox="1"/>
          <p:nvPr/>
        </p:nvSpPr>
        <p:spPr>
          <a:xfrm>
            <a:off x="4251326" y="726100"/>
            <a:ext cx="7283451" cy="461665"/>
          </a:xfrm>
          <a:prstGeom prst="rect">
            <a:avLst/>
          </a:prstGeom>
          <a:noFill/>
        </p:spPr>
        <p:txBody>
          <a:bodyPr wrap="square">
            <a:spAutoFit/>
          </a:bodyPr>
          <a:lstStyle/>
          <a:p>
            <a:pPr algn="l"/>
            <a:r>
              <a:rPr lang="en-US" sz="1200" b="1" i="1" cap="all" spc="100" dirty="0">
                <a:solidFill>
                  <a:schemeClr val="accent2"/>
                </a:solidFill>
                <a:latin typeface="Calibri"/>
                <a:cs typeface="Calibri"/>
              </a:rPr>
              <a:t>KEY TAKEAWAY:</a:t>
            </a:r>
          </a:p>
          <a:p>
            <a:r>
              <a:rPr lang="en-US" sz="1200" i="1" spc="100" dirty="0"/>
              <a:t>Awareness – online and IRL – is key to staying safe and not being a victim this season.</a:t>
            </a:r>
          </a:p>
        </p:txBody>
      </p:sp>
      <p:sp>
        <p:nvSpPr>
          <p:cNvPr id="7" name="TextBox 6">
            <a:extLst>
              <a:ext uri="{FF2B5EF4-FFF2-40B4-BE49-F238E27FC236}">
                <a16:creationId xmlns:a16="http://schemas.microsoft.com/office/drawing/2014/main" id="{9FB6DA03-5C8A-0FA0-2E60-BFD583FAE121}"/>
              </a:ext>
            </a:extLst>
          </p:cNvPr>
          <p:cNvSpPr txBox="1"/>
          <p:nvPr/>
        </p:nvSpPr>
        <p:spPr>
          <a:xfrm>
            <a:off x="5988050" y="4511114"/>
            <a:ext cx="594360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100" normalizeH="0" baseline="0" noProof="0" dirty="0">
                <a:ln>
                  <a:noFill/>
                </a:ln>
                <a:solidFill>
                  <a:srgbClr val="000000"/>
                </a:solidFill>
                <a:effectLst/>
                <a:uLnTx/>
                <a:uFillTx/>
                <a:latin typeface="Calibri" panose="020F0502020204030204"/>
                <a:ea typeface="+mn-ea"/>
                <a:cs typeface="+mn-cs"/>
              </a:rPr>
              <a:t>During the holidays, stores are crowded, and many shoppers are often distracted. This environment makes it easy for someone to steal your purse, wallet, or cell phone. When shopping, take only what you need. Be cautious in dressing rooms—never leave your purchases or personal items unattended. Additionally, make sure to keep an eye on your purse or wallet while paying at the cashier or using the self-checkout.</a:t>
            </a:r>
            <a:endParaRPr kumimoji="0" lang="en-US" sz="1200" b="0" i="0" u="none" strike="noStrike" kern="1200" cap="none" spc="0" normalizeH="0" baseline="0" noProof="0" dirty="0">
              <a:ln>
                <a:noFill/>
              </a:ln>
              <a:solidFill>
                <a:srgbClr val="111111"/>
              </a:solidFill>
              <a:effectLst/>
              <a:uLnTx/>
              <a:uFillTx/>
              <a:latin typeface="Calibri"/>
              <a:ea typeface="Calibri"/>
              <a:cs typeface="Calibri"/>
            </a:endParaRPr>
          </a:p>
        </p:txBody>
      </p:sp>
      <p:sp>
        <p:nvSpPr>
          <p:cNvPr id="8" name="TextBox 7">
            <a:extLst>
              <a:ext uri="{FF2B5EF4-FFF2-40B4-BE49-F238E27FC236}">
                <a16:creationId xmlns:a16="http://schemas.microsoft.com/office/drawing/2014/main" id="{C25F6D2B-BAB3-E802-9DD1-4CF3041D0C47}"/>
              </a:ext>
            </a:extLst>
          </p:cNvPr>
          <p:cNvSpPr txBox="1"/>
          <p:nvPr/>
        </p:nvSpPr>
        <p:spPr>
          <a:xfrm>
            <a:off x="5988050" y="4117715"/>
            <a:ext cx="5715000" cy="2862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1400" b="1" i="0" u="none" strike="noStrike" kern="1200" cap="all" spc="100" normalizeH="0" baseline="0" noProof="0" dirty="0">
                <a:ln>
                  <a:noFill/>
                </a:ln>
                <a:solidFill>
                  <a:srgbClr val="1B5EAC"/>
                </a:solidFill>
                <a:effectLst/>
                <a:uLnTx/>
                <a:uFillTx/>
                <a:latin typeface="Calibri"/>
                <a:ea typeface="Calibri"/>
                <a:cs typeface="Calibri"/>
              </a:rPr>
              <a:t>Keep a handle on your personal items</a:t>
            </a:r>
          </a:p>
        </p:txBody>
      </p:sp>
      <p:sp>
        <p:nvSpPr>
          <p:cNvPr id="9" name="TextBox 8">
            <a:extLst>
              <a:ext uri="{FF2B5EF4-FFF2-40B4-BE49-F238E27FC236}">
                <a16:creationId xmlns:a16="http://schemas.microsoft.com/office/drawing/2014/main" id="{9978DCFE-048E-3C24-BEB8-1B48DC9ED3AA}"/>
              </a:ext>
            </a:extLst>
          </p:cNvPr>
          <p:cNvSpPr txBox="1"/>
          <p:nvPr/>
        </p:nvSpPr>
        <p:spPr>
          <a:xfrm>
            <a:off x="5988050" y="1867206"/>
            <a:ext cx="5245100" cy="2862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sz="1400" b="1" cap="all" spc="100" dirty="0">
                <a:solidFill>
                  <a:srgbClr val="1B5EAC"/>
                </a:solidFill>
                <a:latin typeface="Calibri"/>
                <a:ea typeface="Calibri"/>
                <a:cs typeface="Calibri"/>
              </a:rPr>
              <a:t>Park Safely </a:t>
            </a:r>
            <a:endParaRPr kumimoji="0" lang="en-US" sz="1400" b="1" i="0" u="none" strike="noStrike" kern="1200" cap="all" spc="100" normalizeH="0" baseline="0" noProof="0" dirty="0">
              <a:ln>
                <a:noFill/>
              </a:ln>
              <a:solidFill>
                <a:srgbClr val="1B5EAC"/>
              </a:solidFill>
              <a:effectLst/>
              <a:uLnTx/>
              <a:uFillTx/>
              <a:latin typeface="Calibri"/>
              <a:ea typeface="Calibri"/>
              <a:cs typeface="Calibri"/>
            </a:endParaRPr>
          </a:p>
        </p:txBody>
      </p:sp>
      <p:sp>
        <p:nvSpPr>
          <p:cNvPr id="11" name="TextBox 10">
            <a:extLst>
              <a:ext uri="{FF2B5EF4-FFF2-40B4-BE49-F238E27FC236}">
                <a16:creationId xmlns:a16="http://schemas.microsoft.com/office/drawing/2014/main" id="{0BA0F9CF-C9A2-DAC4-1B81-39BF3861A427}"/>
              </a:ext>
            </a:extLst>
          </p:cNvPr>
          <p:cNvSpPr txBox="1"/>
          <p:nvPr/>
        </p:nvSpPr>
        <p:spPr>
          <a:xfrm>
            <a:off x="5988050" y="2191844"/>
            <a:ext cx="5943600" cy="646331"/>
          </a:xfrm>
          <a:prstGeom prst="rect">
            <a:avLst/>
          </a:prstGeom>
          <a:noFill/>
        </p:spPr>
        <p:txBody>
          <a:bodyPr wrap="square" rtlCol="0">
            <a:spAutoFit/>
          </a:bodyPr>
          <a:lstStyle/>
          <a:p>
            <a:r>
              <a:rPr kumimoji="0" lang="en-US" sz="1200" b="0" i="0" u="none" strike="noStrike" kern="1200" cap="none" spc="100" normalizeH="0" baseline="0" noProof="0" dirty="0">
                <a:ln>
                  <a:noFill/>
                </a:ln>
                <a:solidFill>
                  <a:srgbClr val="111111"/>
                </a:solidFill>
                <a:effectLst/>
                <a:uLnTx/>
                <a:uFillTx/>
                <a:latin typeface="Calibri"/>
                <a:ea typeface="Calibri"/>
                <a:cs typeface="Calibri"/>
              </a:rPr>
              <a:t>Be mindful when you park – it may be dark when you leave the store or mall. Park in well-lit areas and near entrances. Approach your car carefully, have your keys or fob ready, and walk the circle of safety.</a:t>
            </a:r>
            <a:endParaRPr lang="en-US" dirty="0"/>
          </a:p>
        </p:txBody>
      </p:sp>
      <p:sp>
        <p:nvSpPr>
          <p:cNvPr id="13" name="TextBox 12">
            <a:extLst>
              <a:ext uri="{FF2B5EF4-FFF2-40B4-BE49-F238E27FC236}">
                <a16:creationId xmlns:a16="http://schemas.microsoft.com/office/drawing/2014/main" id="{AFD77C7B-D5D1-7F54-B9A1-9D3335D148A6}"/>
              </a:ext>
            </a:extLst>
          </p:cNvPr>
          <p:cNvSpPr txBox="1"/>
          <p:nvPr/>
        </p:nvSpPr>
        <p:spPr>
          <a:xfrm>
            <a:off x="5927724" y="1410760"/>
            <a:ext cx="50196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11111"/>
                </a:solidFill>
                <a:effectLst/>
                <a:uLnTx/>
                <a:uFillTx/>
                <a:latin typeface="Calibri"/>
                <a:ea typeface="Calibri"/>
                <a:cs typeface="Calibri"/>
              </a:rPr>
              <a:t>SHOPPING AT THE STORE</a:t>
            </a:r>
          </a:p>
        </p:txBody>
      </p:sp>
    </p:spTree>
    <p:extLst>
      <p:ext uri="{BB962C8B-B14F-4D97-AF65-F5344CB8AC3E}">
        <p14:creationId xmlns:p14="http://schemas.microsoft.com/office/powerpoint/2010/main" val="14071947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0031D5-3ECB-E04B-19FD-330EA0CDBD09}"/>
              </a:ext>
            </a:extLst>
          </p:cNvPr>
          <p:cNvSpPr>
            <a:spLocks noGrp="1"/>
          </p:cNvSpPr>
          <p:nvPr>
            <p:ph type="title"/>
          </p:nvPr>
        </p:nvSpPr>
        <p:spPr>
          <a:xfrm>
            <a:off x="1007436" y="44624"/>
            <a:ext cx="10574965" cy="980728"/>
          </a:xfrm>
        </p:spPr>
        <p:txBody>
          <a:bodyPr vert="horz" lIns="91440" tIns="45720" rIns="91440" bIns="45720" rtlCol="0" anchor="ctr">
            <a:normAutofit/>
          </a:bodyPr>
          <a:lstStyle/>
          <a:p>
            <a:r>
              <a:rPr lang="en-US" dirty="0"/>
              <a:t>Agenda</a:t>
            </a:r>
          </a:p>
        </p:txBody>
      </p:sp>
      <p:sp>
        <p:nvSpPr>
          <p:cNvPr id="5" name="TextBox 4">
            <a:extLst>
              <a:ext uri="{FF2B5EF4-FFF2-40B4-BE49-F238E27FC236}">
                <a16:creationId xmlns:a16="http://schemas.microsoft.com/office/drawing/2014/main" id="{8C11DA64-E7B2-92DA-B199-315C53E91EE4}"/>
              </a:ext>
            </a:extLst>
          </p:cNvPr>
          <p:cNvSpPr txBox="1"/>
          <p:nvPr/>
        </p:nvSpPr>
        <p:spPr>
          <a:xfrm>
            <a:off x="623391" y="1412776"/>
            <a:ext cx="5575277" cy="4392488"/>
          </a:xfrm>
          <a:prstGeom prst="rect">
            <a:avLst/>
          </a:prstGeom>
        </p:spPr>
        <p:txBody>
          <a:bodyPr vert="horz" lIns="91440" tIns="45720" rIns="91440" bIns="45720" rtlCol="0">
            <a:normAutofit fontScale="92500" lnSpcReduction="20000"/>
          </a:bodyPr>
          <a:lstStyle/>
          <a:p>
            <a:pPr marL="457200" indent="-457200" defTabSz="914400">
              <a:lnSpc>
                <a:spcPct val="90000"/>
              </a:lnSpc>
              <a:spcBef>
                <a:spcPct val="20000"/>
              </a:spcBef>
              <a:spcAft>
                <a:spcPts val="600"/>
              </a:spcAft>
              <a:buFont typeface="Wingdings" panose="05000000000000000000" pitchFamily="2" charset="2"/>
              <a:buChar char="§"/>
            </a:pPr>
            <a:r>
              <a:rPr lang="en-US" sz="3000" cap="none" baseline="0" dirty="0">
                <a:solidFill>
                  <a:schemeClr val="tx1">
                    <a:lumMod val="95000"/>
                    <a:lumOff val="5000"/>
                  </a:schemeClr>
                </a:solidFill>
              </a:rPr>
              <a:t>Why is the clause important?</a:t>
            </a:r>
          </a:p>
          <a:p>
            <a:pPr marL="457200" indent="-457200" defTabSz="914400">
              <a:lnSpc>
                <a:spcPct val="90000"/>
              </a:lnSpc>
              <a:spcBef>
                <a:spcPct val="20000"/>
              </a:spcBef>
              <a:spcAft>
                <a:spcPts val="600"/>
              </a:spcAft>
              <a:buFont typeface="Wingdings" panose="05000000000000000000" pitchFamily="2" charset="2"/>
              <a:buChar char="§"/>
            </a:pPr>
            <a:r>
              <a:rPr lang="en-US" sz="3000" dirty="0">
                <a:solidFill>
                  <a:schemeClr val="tx1">
                    <a:lumMod val="95000"/>
                    <a:lumOff val="5000"/>
                  </a:schemeClr>
                </a:solidFill>
              </a:rPr>
              <a:t>Facility </a:t>
            </a:r>
            <a:r>
              <a:rPr lang="en-US" sz="3000" cap="none" baseline="0" dirty="0">
                <a:solidFill>
                  <a:schemeClr val="tx1">
                    <a:lumMod val="95000"/>
                    <a:lumOff val="5000"/>
                  </a:schemeClr>
                </a:solidFill>
              </a:rPr>
              <a:t>Relocation Overview</a:t>
            </a:r>
          </a:p>
          <a:p>
            <a:pPr marL="1066785" lvl="1" indent="-457200" defTabSz="914400">
              <a:lnSpc>
                <a:spcPct val="90000"/>
              </a:lnSpc>
              <a:spcBef>
                <a:spcPct val="20000"/>
              </a:spcBef>
              <a:spcAft>
                <a:spcPts val="600"/>
              </a:spcAft>
              <a:buFont typeface="Wingdings" panose="05000000000000000000" pitchFamily="2" charset="2"/>
              <a:buChar char="§"/>
            </a:pPr>
            <a:r>
              <a:rPr lang="en-US" sz="3000" cap="none" baseline="0" dirty="0">
                <a:solidFill>
                  <a:schemeClr val="tx1">
                    <a:lumMod val="95000"/>
                    <a:lumOff val="5000"/>
                  </a:schemeClr>
                </a:solidFill>
              </a:rPr>
              <a:t>Types of Facility Relocation Projects</a:t>
            </a:r>
          </a:p>
          <a:p>
            <a:pPr marL="1066785" lvl="1" indent="-457200" defTabSz="914400">
              <a:lnSpc>
                <a:spcPct val="90000"/>
              </a:lnSpc>
              <a:spcBef>
                <a:spcPct val="20000"/>
              </a:spcBef>
              <a:spcAft>
                <a:spcPts val="600"/>
              </a:spcAft>
              <a:buFont typeface="Wingdings" panose="05000000000000000000" pitchFamily="2" charset="2"/>
              <a:buChar char="§"/>
            </a:pPr>
            <a:r>
              <a:rPr lang="en-US" sz="3000" cap="none" baseline="0" dirty="0">
                <a:solidFill>
                  <a:schemeClr val="tx1">
                    <a:lumMod val="95000"/>
                    <a:lumOff val="5000"/>
                  </a:schemeClr>
                </a:solidFill>
              </a:rPr>
              <a:t>How Notification Processes Differ</a:t>
            </a:r>
          </a:p>
          <a:p>
            <a:pPr marL="457200" indent="-457200" defTabSz="914400">
              <a:lnSpc>
                <a:spcPct val="90000"/>
              </a:lnSpc>
              <a:spcBef>
                <a:spcPct val="20000"/>
              </a:spcBef>
              <a:spcAft>
                <a:spcPts val="600"/>
              </a:spcAft>
              <a:buFont typeface="Wingdings" panose="05000000000000000000" pitchFamily="2" charset="2"/>
              <a:buChar char="§"/>
            </a:pPr>
            <a:r>
              <a:rPr lang="en-US" sz="3000" cap="none" baseline="0" dirty="0">
                <a:solidFill>
                  <a:schemeClr val="tx1">
                    <a:lumMod val="95000"/>
                    <a:lumOff val="5000"/>
                  </a:schemeClr>
                </a:solidFill>
              </a:rPr>
              <a:t>Thoughts on the Rule and Other Questions</a:t>
            </a:r>
          </a:p>
          <a:p>
            <a:pPr marL="457200" indent="-457200" defTabSz="914400">
              <a:lnSpc>
                <a:spcPct val="90000"/>
              </a:lnSpc>
              <a:spcBef>
                <a:spcPct val="20000"/>
              </a:spcBef>
              <a:spcAft>
                <a:spcPts val="600"/>
              </a:spcAft>
              <a:buFont typeface="Wingdings" panose="05000000000000000000" pitchFamily="2" charset="2"/>
              <a:buChar char="§"/>
            </a:pPr>
            <a:r>
              <a:rPr lang="en-US" sz="3000" cap="none" baseline="0" dirty="0">
                <a:solidFill>
                  <a:schemeClr val="tx1">
                    <a:lumMod val="95000"/>
                    <a:lumOff val="5000"/>
                  </a:schemeClr>
                </a:solidFill>
              </a:rPr>
              <a:t>Other Questions</a:t>
            </a:r>
          </a:p>
          <a:p>
            <a:pPr marL="457200" indent="-457200" defTabSz="914400">
              <a:lnSpc>
                <a:spcPct val="90000"/>
              </a:lnSpc>
              <a:spcBef>
                <a:spcPct val="20000"/>
              </a:spcBef>
              <a:spcAft>
                <a:spcPts val="600"/>
              </a:spcAft>
              <a:buFont typeface="Wingdings" panose="05000000000000000000" pitchFamily="2" charset="2"/>
              <a:buChar char="§"/>
            </a:pPr>
            <a:r>
              <a:rPr lang="en-US" sz="3000" cap="none" baseline="0" dirty="0">
                <a:solidFill>
                  <a:schemeClr val="tx1">
                    <a:lumMod val="95000"/>
                    <a:lumOff val="5000"/>
                  </a:schemeClr>
                </a:solidFill>
              </a:rPr>
              <a:t>Next Steps</a:t>
            </a:r>
          </a:p>
          <a:p>
            <a:pPr marL="457200" indent="-457200" defTabSz="914400">
              <a:lnSpc>
                <a:spcPct val="90000"/>
              </a:lnSpc>
              <a:spcBef>
                <a:spcPct val="20000"/>
              </a:spcBef>
              <a:spcAft>
                <a:spcPts val="600"/>
              </a:spcAft>
              <a:buFont typeface="Wingdings" panose="05000000000000000000" pitchFamily="2" charset="2"/>
              <a:buChar char="§"/>
            </a:pPr>
            <a:endParaRPr lang="en-US" sz="3000" cap="none" baseline="0" dirty="0">
              <a:solidFill>
                <a:schemeClr val="tx1">
                  <a:lumMod val="95000"/>
                  <a:lumOff val="5000"/>
                </a:schemeClr>
              </a:solidFill>
            </a:endParaRPr>
          </a:p>
        </p:txBody>
      </p:sp>
      <p:sp>
        <p:nvSpPr>
          <p:cNvPr id="6" name="Picture Placeholder 5">
            <a:extLst>
              <a:ext uri="{FF2B5EF4-FFF2-40B4-BE49-F238E27FC236}">
                <a16:creationId xmlns:a16="http://schemas.microsoft.com/office/drawing/2014/main" id="{72BFE421-AA8C-CE80-BFEC-360C2775901E}"/>
              </a:ext>
            </a:extLst>
          </p:cNvPr>
          <p:cNvSpPr>
            <a:spLocks noGrp="1"/>
          </p:cNvSpPr>
          <p:nvPr>
            <p:ph type="pic" sz="quarter" idx="11"/>
          </p:nvPr>
        </p:nvSpPr>
        <p:spPr/>
        <p:txBody>
          <a:bodyPr/>
          <a:lstStyle/>
          <a:p>
            <a:endParaRPr lang="en-US"/>
          </a:p>
        </p:txBody>
      </p:sp>
      <p:pic>
        <p:nvPicPr>
          <p:cNvPr id="7" name="Picture Placeholder 10" descr="A group of people working in a trench">
            <a:extLst>
              <a:ext uri="{FF2B5EF4-FFF2-40B4-BE49-F238E27FC236}">
                <a16:creationId xmlns:a16="http://schemas.microsoft.com/office/drawing/2014/main" id="{6F9D3572-B6DB-B31E-2C10-B745E76638AA}"/>
              </a:ext>
            </a:extLst>
          </p:cNvPr>
          <p:cNvPicPr>
            <a:picLocks noChangeAspect="1"/>
          </p:cNvPicPr>
          <p:nvPr/>
        </p:nvPicPr>
        <p:blipFill>
          <a:blip r:embed="rId2" cstate="print">
            <a:extLst>
              <a:ext uri="{28A0092B-C50C-407E-A947-70E740481C1C}">
                <a14:useLocalDpi xmlns:a14="http://schemas.microsoft.com/office/drawing/2010/main" val="0"/>
              </a:ext>
            </a:extLst>
          </a:blip>
          <a:srcRect l="15028" r="15028"/>
          <a:stretch>
            <a:fillRect/>
          </a:stretch>
        </p:blipFill>
        <p:spPr>
          <a:xfrm>
            <a:off x="6864085" y="1412776"/>
            <a:ext cx="4608248" cy="4392488"/>
          </a:xfrm>
          <a:prstGeom prst="rect">
            <a:avLst/>
          </a:prstGeom>
          <a:noFill/>
          <a:ln>
            <a:solidFill>
              <a:srgbClr val="005FAA"/>
            </a:solidFill>
          </a:ln>
        </p:spPr>
      </p:pic>
    </p:spTree>
    <p:extLst>
      <p:ext uri="{BB962C8B-B14F-4D97-AF65-F5344CB8AC3E}">
        <p14:creationId xmlns:p14="http://schemas.microsoft.com/office/powerpoint/2010/main" val="2144063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DC5AD4-9A1E-59DD-390B-E9CF1E2852DA}"/>
              </a:ext>
            </a:extLst>
          </p:cNvPr>
          <p:cNvSpPr>
            <a:spLocks noGrp="1"/>
          </p:cNvSpPr>
          <p:nvPr>
            <p:ph type="title"/>
          </p:nvPr>
        </p:nvSpPr>
        <p:spPr>
          <a:xfrm>
            <a:off x="854557" y="184096"/>
            <a:ext cx="10669157" cy="725505"/>
          </a:xfrm>
        </p:spPr>
        <p:txBody>
          <a:bodyPr>
            <a:normAutofit/>
          </a:bodyPr>
          <a:lstStyle/>
          <a:p>
            <a:pPr marR="0" lvl="0">
              <a:lnSpc>
                <a:spcPct val="107000"/>
              </a:lnSpc>
              <a:spcBef>
                <a:spcPts val="0"/>
              </a:spcBef>
              <a:spcAft>
                <a:spcPts val="0"/>
              </a:spcAft>
            </a:pPr>
            <a:r>
              <a:rPr lang="en-US" sz="3200" dirty="0"/>
              <a:t>Why is the Clause Important?</a:t>
            </a:r>
            <a:endParaRPr lang="en-US" sz="3200" dirty="0">
              <a:latin typeface="Calibri"/>
              <a:ea typeface="Calibri"/>
              <a:cs typeface="Calibri"/>
            </a:endParaRPr>
          </a:p>
        </p:txBody>
      </p:sp>
      <p:sp>
        <p:nvSpPr>
          <p:cNvPr id="4" name="Content Placeholder 1">
            <a:extLst>
              <a:ext uri="{FF2B5EF4-FFF2-40B4-BE49-F238E27FC236}">
                <a16:creationId xmlns:a16="http://schemas.microsoft.com/office/drawing/2014/main" id="{5124A1A2-AB47-6A2F-CC66-C273D1E3E726}"/>
              </a:ext>
            </a:extLst>
          </p:cNvPr>
          <p:cNvSpPr txBox="1">
            <a:spLocks/>
          </p:cNvSpPr>
          <p:nvPr>
            <p:custDataLst>
              <p:tags r:id="rId1"/>
            </p:custDataLst>
          </p:nvPr>
        </p:nvSpPr>
        <p:spPr>
          <a:xfrm>
            <a:off x="453569" y="1753850"/>
            <a:ext cx="3833952" cy="4555473"/>
          </a:xfrm>
          <a:prstGeom prst="rect">
            <a:avLst/>
          </a:prstGeom>
        </p:spPr>
        <p:txBody>
          <a:bodyPr vert="horz" lIns="91440" tIns="45720" rIns="91440" bIns="45720" rtlCol="0" anchor="t">
            <a:normAutofit/>
          </a:bodyPr>
          <a:lstStyle>
            <a:lvl1pPr marL="0" indent="0" algn="l" defTabSz="914377" rtl="0" eaLnBrk="1" latinLnBrk="0" hangingPunct="1">
              <a:spcBef>
                <a:spcPct val="20000"/>
              </a:spcBef>
              <a:buClr>
                <a:schemeClr val="bg1"/>
              </a:buClr>
              <a:buFont typeface="Arial" pitchFamily="34" charset="0"/>
              <a:buChar char="•"/>
              <a:tabLst/>
              <a:defRPr lang="en-US" sz="2133" kern="1200" cap="none" baseline="0" dirty="0" smtClean="0">
                <a:solidFill>
                  <a:schemeClr val="tx1">
                    <a:lumMod val="95000"/>
                    <a:lumOff val="5000"/>
                  </a:schemeClr>
                </a:solidFill>
                <a:latin typeface="+mn-lt"/>
                <a:ea typeface="+mn-ea"/>
                <a:cs typeface="+mn-cs"/>
              </a:defRPr>
            </a:lvl1pPr>
            <a:lvl2pPr marL="450839" indent="-276218" algn="l" defTabSz="914377" rtl="0" eaLnBrk="1" latinLnBrk="0" hangingPunct="1">
              <a:spcBef>
                <a:spcPct val="20000"/>
              </a:spcBef>
              <a:buClr>
                <a:srgbClr val="005FAA"/>
              </a:buClr>
              <a:buSzPct val="75000"/>
              <a:buFont typeface="Wingdings" pitchFamily="2" charset="2"/>
              <a:buChar char="§"/>
              <a:tabLst/>
              <a:defRPr sz="2133" kern="1200">
                <a:solidFill>
                  <a:schemeClr val="tx1"/>
                </a:solidFill>
                <a:latin typeface="+mn-lt"/>
                <a:ea typeface="+mn-ea"/>
                <a:cs typeface="+mn-cs"/>
              </a:defRPr>
            </a:lvl2pPr>
            <a:lvl3pPr marL="801668" indent="-317492" algn="l" defTabSz="914377" rtl="0" eaLnBrk="1" latinLnBrk="0" hangingPunct="1">
              <a:spcBef>
                <a:spcPct val="20000"/>
              </a:spcBef>
              <a:buClr>
                <a:srgbClr val="005FAA"/>
              </a:buClr>
              <a:buFont typeface="Arial" pitchFamily="34" charset="0"/>
              <a:buChar char="•"/>
              <a:defRPr sz="2133" kern="1200">
                <a:solidFill>
                  <a:schemeClr val="tx1"/>
                </a:solidFill>
                <a:latin typeface="+mn-lt"/>
                <a:ea typeface="+mn-ea"/>
                <a:cs typeface="Calibri" pitchFamily="34" charset="0"/>
              </a:defRPr>
            </a:lvl3pPr>
            <a:lvl4pPr marL="1169959" indent="-241294" algn="l" defTabSz="914377" rtl="0" eaLnBrk="1" latinLnBrk="0" hangingPunct="1">
              <a:spcBef>
                <a:spcPct val="20000"/>
              </a:spcBef>
              <a:buClr>
                <a:srgbClr val="005FAA"/>
              </a:buClr>
              <a:buSzPct val="75000"/>
              <a:buFont typeface="Corbel" pitchFamily="34" charset="0"/>
              <a:buChar char="–"/>
              <a:defRPr sz="2133" kern="1200">
                <a:solidFill>
                  <a:schemeClr val="tx1"/>
                </a:solidFill>
                <a:latin typeface="+mn-lt"/>
                <a:ea typeface="+mn-ea"/>
                <a:cs typeface="Calibri" pitchFamily="34" charset="0"/>
              </a:defRPr>
            </a:lvl4pPr>
            <a:lvl5pPr marL="1612860" indent="-228594" algn="l" defTabSz="914377" rtl="0" eaLnBrk="1" latinLnBrk="0" hangingPunct="1">
              <a:spcBef>
                <a:spcPct val="20000"/>
              </a:spcBef>
              <a:buClr>
                <a:srgbClr val="005FAA"/>
              </a:buClr>
              <a:buFont typeface="Arial" pitchFamily="34" charset="0"/>
              <a:buChar char="»"/>
              <a:defRPr sz="2133" kern="1200">
                <a:solidFill>
                  <a:schemeClr val="tx1"/>
                </a:solidFill>
                <a:latin typeface="+mn-lt"/>
                <a:ea typeface="+mn-ea"/>
                <a:cs typeface="Calibri" pitchFamily="34" charset="0"/>
              </a:defRPr>
            </a:lvl5pPr>
            <a:lvl6pPr marL="2057349" indent="-228594" algn="l" defTabSz="914377" rtl="0" eaLnBrk="1" latinLnBrk="0" hangingPunct="1">
              <a:spcBef>
                <a:spcPct val="20000"/>
              </a:spcBef>
              <a:buClr>
                <a:schemeClr val="accent6"/>
              </a:buClr>
              <a:buFont typeface="Calibri" pitchFamily="34" charset="0"/>
              <a:buChar char="»"/>
              <a:defRPr sz="2133" kern="1200">
                <a:solidFill>
                  <a:schemeClr val="tx1"/>
                </a:solidFill>
                <a:latin typeface="Calibri" pitchFamily="34" charset="0"/>
                <a:ea typeface="+mn-ea"/>
                <a:cs typeface="Calibri" pitchFamily="34" charset="0"/>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buNone/>
            </a:pPr>
            <a:endParaRPr lang="en-US" sz="1300" dirty="0">
              <a:ea typeface="Times New Roman" panose="02020603050405020304" pitchFamily="18" charset="0"/>
            </a:endParaRPr>
          </a:p>
          <a:p>
            <a:pPr algn="just">
              <a:spcBef>
                <a:spcPts val="0"/>
              </a:spcBef>
              <a:buNone/>
            </a:pPr>
            <a:endParaRPr lang="en-US" sz="1200" dirty="0">
              <a:ea typeface="Times New Roman" panose="02020603050405020304" pitchFamily="18" charset="0"/>
            </a:endParaRPr>
          </a:p>
          <a:p>
            <a:pPr>
              <a:spcBef>
                <a:spcPts val="0"/>
              </a:spcBef>
            </a:pPr>
            <a:endParaRPr lang="en-US" sz="1400" b="1" u="sng" dirty="0">
              <a:ea typeface="Calibri"/>
              <a:cs typeface="Calibri"/>
            </a:endParaRPr>
          </a:p>
        </p:txBody>
      </p:sp>
      <p:sp>
        <p:nvSpPr>
          <p:cNvPr id="5" name="Content Placeholder 1">
            <a:extLst>
              <a:ext uri="{FF2B5EF4-FFF2-40B4-BE49-F238E27FC236}">
                <a16:creationId xmlns:a16="http://schemas.microsoft.com/office/drawing/2014/main" id="{30286E0A-A366-2465-C24A-46282DD80412}"/>
              </a:ext>
            </a:extLst>
          </p:cNvPr>
          <p:cNvSpPr txBox="1">
            <a:spLocks/>
          </p:cNvSpPr>
          <p:nvPr>
            <p:custDataLst>
              <p:tags r:id="rId2"/>
            </p:custDataLst>
          </p:nvPr>
        </p:nvSpPr>
        <p:spPr>
          <a:xfrm>
            <a:off x="4541894" y="1733485"/>
            <a:ext cx="3579958" cy="4575837"/>
          </a:xfrm>
          <a:prstGeom prst="rect">
            <a:avLst/>
          </a:prstGeom>
        </p:spPr>
        <p:txBody>
          <a:bodyPr vert="horz" lIns="91440" tIns="45720" rIns="91440" bIns="45720" rtlCol="0" anchor="t">
            <a:normAutofit/>
          </a:bodyPr>
          <a:lstStyle>
            <a:lvl1pPr marL="0" indent="0" algn="l" defTabSz="914377" rtl="0" eaLnBrk="1" latinLnBrk="0" hangingPunct="1">
              <a:spcBef>
                <a:spcPct val="20000"/>
              </a:spcBef>
              <a:buClr>
                <a:schemeClr val="bg1"/>
              </a:buClr>
              <a:buFont typeface="Arial" pitchFamily="34" charset="0"/>
              <a:buChar char="•"/>
              <a:tabLst/>
              <a:defRPr lang="en-US" sz="2133" kern="1200" cap="none" baseline="0" dirty="0" smtClean="0">
                <a:solidFill>
                  <a:schemeClr val="tx1">
                    <a:lumMod val="95000"/>
                    <a:lumOff val="5000"/>
                  </a:schemeClr>
                </a:solidFill>
                <a:latin typeface="+mn-lt"/>
                <a:ea typeface="+mn-ea"/>
                <a:cs typeface="+mn-cs"/>
              </a:defRPr>
            </a:lvl1pPr>
            <a:lvl2pPr marL="450839" indent="-276218" algn="l" defTabSz="914377" rtl="0" eaLnBrk="1" latinLnBrk="0" hangingPunct="1">
              <a:spcBef>
                <a:spcPct val="20000"/>
              </a:spcBef>
              <a:buClr>
                <a:srgbClr val="005FAA"/>
              </a:buClr>
              <a:buSzPct val="75000"/>
              <a:buFont typeface="Wingdings" pitchFamily="2" charset="2"/>
              <a:buChar char="§"/>
              <a:tabLst/>
              <a:defRPr sz="2133" kern="1200">
                <a:solidFill>
                  <a:schemeClr val="tx1"/>
                </a:solidFill>
                <a:latin typeface="+mn-lt"/>
                <a:ea typeface="+mn-ea"/>
                <a:cs typeface="+mn-cs"/>
              </a:defRPr>
            </a:lvl2pPr>
            <a:lvl3pPr marL="801668" indent="-317492" algn="l" defTabSz="914377" rtl="0" eaLnBrk="1" latinLnBrk="0" hangingPunct="1">
              <a:spcBef>
                <a:spcPct val="20000"/>
              </a:spcBef>
              <a:buClr>
                <a:srgbClr val="005FAA"/>
              </a:buClr>
              <a:buFont typeface="Arial" pitchFamily="34" charset="0"/>
              <a:buChar char="•"/>
              <a:defRPr sz="2133" kern="1200">
                <a:solidFill>
                  <a:schemeClr val="tx1"/>
                </a:solidFill>
                <a:latin typeface="+mn-lt"/>
                <a:ea typeface="+mn-ea"/>
                <a:cs typeface="Calibri" pitchFamily="34" charset="0"/>
              </a:defRPr>
            </a:lvl3pPr>
            <a:lvl4pPr marL="1169959" indent="-241294" algn="l" defTabSz="914377" rtl="0" eaLnBrk="1" latinLnBrk="0" hangingPunct="1">
              <a:spcBef>
                <a:spcPct val="20000"/>
              </a:spcBef>
              <a:buClr>
                <a:srgbClr val="005FAA"/>
              </a:buClr>
              <a:buSzPct val="75000"/>
              <a:buFont typeface="Corbel" pitchFamily="34" charset="0"/>
              <a:buChar char="–"/>
              <a:defRPr sz="2133" kern="1200">
                <a:solidFill>
                  <a:schemeClr val="tx1"/>
                </a:solidFill>
                <a:latin typeface="+mn-lt"/>
                <a:ea typeface="+mn-ea"/>
                <a:cs typeface="Calibri" pitchFamily="34" charset="0"/>
              </a:defRPr>
            </a:lvl4pPr>
            <a:lvl5pPr marL="1612860" indent="-228594" algn="l" defTabSz="914377" rtl="0" eaLnBrk="1" latinLnBrk="0" hangingPunct="1">
              <a:spcBef>
                <a:spcPct val="20000"/>
              </a:spcBef>
              <a:buClr>
                <a:srgbClr val="005FAA"/>
              </a:buClr>
              <a:buFont typeface="Arial" pitchFamily="34" charset="0"/>
              <a:buChar char="»"/>
              <a:defRPr sz="2133" kern="1200">
                <a:solidFill>
                  <a:schemeClr val="tx1"/>
                </a:solidFill>
                <a:latin typeface="+mn-lt"/>
                <a:ea typeface="+mn-ea"/>
                <a:cs typeface="Calibri" pitchFamily="34" charset="0"/>
              </a:defRPr>
            </a:lvl5pPr>
            <a:lvl6pPr marL="2057349" indent="-228594" algn="l" defTabSz="914377" rtl="0" eaLnBrk="1" latinLnBrk="0" hangingPunct="1">
              <a:spcBef>
                <a:spcPct val="20000"/>
              </a:spcBef>
              <a:buClr>
                <a:schemeClr val="accent6"/>
              </a:buClr>
              <a:buFont typeface="Calibri" pitchFamily="34" charset="0"/>
              <a:buChar char="»"/>
              <a:defRPr sz="2133" kern="1200">
                <a:solidFill>
                  <a:schemeClr val="tx1"/>
                </a:solidFill>
                <a:latin typeface="Calibri" pitchFamily="34" charset="0"/>
                <a:ea typeface="+mn-ea"/>
                <a:cs typeface="Calibri" pitchFamily="34" charset="0"/>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10000"/>
              </a:lnSpc>
              <a:spcBef>
                <a:spcPts val="0"/>
              </a:spcBef>
              <a:buNone/>
            </a:pPr>
            <a:endParaRPr lang="en-US" sz="1300" b="1" dirty="0">
              <a:solidFill>
                <a:schemeClr val="accent2"/>
              </a:solidFill>
            </a:endParaRPr>
          </a:p>
        </p:txBody>
      </p:sp>
      <p:sp>
        <p:nvSpPr>
          <p:cNvPr id="6" name="Content Placeholder 1">
            <a:extLst>
              <a:ext uri="{FF2B5EF4-FFF2-40B4-BE49-F238E27FC236}">
                <a16:creationId xmlns:a16="http://schemas.microsoft.com/office/drawing/2014/main" id="{E1204CBE-05A3-3066-7938-E6180452F348}"/>
              </a:ext>
            </a:extLst>
          </p:cNvPr>
          <p:cNvSpPr txBox="1">
            <a:spLocks/>
          </p:cNvSpPr>
          <p:nvPr>
            <p:custDataLst>
              <p:tags r:id="rId3"/>
            </p:custDataLst>
          </p:nvPr>
        </p:nvSpPr>
        <p:spPr>
          <a:xfrm>
            <a:off x="8222825" y="1750662"/>
            <a:ext cx="3664374" cy="2740057"/>
          </a:xfrm>
          <a:prstGeom prst="rect">
            <a:avLst/>
          </a:prstGeom>
        </p:spPr>
        <p:txBody>
          <a:bodyPr vert="horz" lIns="91440" tIns="45720" rIns="91440" bIns="45720" rtlCol="0" anchor="t">
            <a:noAutofit/>
          </a:bodyPr>
          <a:lstStyle>
            <a:lvl1pPr marL="0" indent="0" algn="l" defTabSz="914377" rtl="0" eaLnBrk="1" latinLnBrk="0" hangingPunct="1">
              <a:spcBef>
                <a:spcPct val="20000"/>
              </a:spcBef>
              <a:buClr>
                <a:schemeClr val="bg1"/>
              </a:buClr>
              <a:buFont typeface="Arial" pitchFamily="34" charset="0"/>
              <a:buChar char="•"/>
              <a:tabLst/>
              <a:defRPr lang="en-US" sz="2133" kern="1200" cap="none" baseline="0" dirty="0" smtClean="0">
                <a:solidFill>
                  <a:schemeClr val="tx1">
                    <a:lumMod val="95000"/>
                    <a:lumOff val="5000"/>
                  </a:schemeClr>
                </a:solidFill>
                <a:latin typeface="+mn-lt"/>
                <a:ea typeface="+mn-ea"/>
                <a:cs typeface="+mn-cs"/>
              </a:defRPr>
            </a:lvl1pPr>
            <a:lvl2pPr marL="450839" indent="-276218" algn="l" defTabSz="914377" rtl="0" eaLnBrk="1" latinLnBrk="0" hangingPunct="1">
              <a:spcBef>
                <a:spcPct val="20000"/>
              </a:spcBef>
              <a:buClr>
                <a:srgbClr val="005FAA"/>
              </a:buClr>
              <a:buSzPct val="75000"/>
              <a:buFont typeface="Wingdings" pitchFamily="2" charset="2"/>
              <a:buChar char="§"/>
              <a:tabLst/>
              <a:defRPr sz="2133" kern="1200">
                <a:solidFill>
                  <a:schemeClr val="tx1"/>
                </a:solidFill>
                <a:latin typeface="+mn-lt"/>
                <a:ea typeface="+mn-ea"/>
                <a:cs typeface="+mn-cs"/>
              </a:defRPr>
            </a:lvl2pPr>
            <a:lvl3pPr marL="801668" indent="-317492" algn="l" defTabSz="914377" rtl="0" eaLnBrk="1" latinLnBrk="0" hangingPunct="1">
              <a:spcBef>
                <a:spcPct val="20000"/>
              </a:spcBef>
              <a:buClr>
                <a:srgbClr val="005FAA"/>
              </a:buClr>
              <a:buFont typeface="Arial" pitchFamily="34" charset="0"/>
              <a:buChar char="•"/>
              <a:defRPr sz="2133" kern="1200">
                <a:solidFill>
                  <a:schemeClr val="tx1"/>
                </a:solidFill>
                <a:latin typeface="+mn-lt"/>
                <a:ea typeface="+mn-ea"/>
                <a:cs typeface="Calibri" pitchFamily="34" charset="0"/>
              </a:defRPr>
            </a:lvl3pPr>
            <a:lvl4pPr marL="1169959" indent="-241294" algn="l" defTabSz="914377" rtl="0" eaLnBrk="1" latinLnBrk="0" hangingPunct="1">
              <a:spcBef>
                <a:spcPct val="20000"/>
              </a:spcBef>
              <a:buClr>
                <a:srgbClr val="005FAA"/>
              </a:buClr>
              <a:buSzPct val="75000"/>
              <a:buFont typeface="Corbel" pitchFamily="34" charset="0"/>
              <a:buChar char="–"/>
              <a:defRPr sz="2133" kern="1200">
                <a:solidFill>
                  <a:schemeClr val="tx1"/>
                </a:solidFill>
                <a:latin typeface="+mn-lt"/>
                <a:ea typeface="+mn-ea"/>
                <a:cs typeface="Calibri" pitchFamily="34" charset="0"/>
              </a:defRPr>
            </a:lvl4pPr>
            <a:lvl5pPr marL="1612860" indent="-228594" algn="l" defTabSz="914377" rtl="0" eaLnBrk="1" latinLnBrk="0" hangingPunct="1">
              <a:spcBef>
                <a:spcPct val="20000"/>
              </a:spcBef>
              <a:buClr>
                <a:srgbClr val="005FAA"/>
              </a:buClr>
              <a:buFont typeface="Arial" pitchFamily="34" charset="0"/>
              <a:buChar char="»"/>
              <a:defRPr sz="2133" kern="1200">
                <a:solidFill>
                  <a:schemeClr val="tx1"/>
                </a:solidFill>
                <a:latin typeface="+mn-lt"/>
                <a:ea typeface="+mn-ea"/>
                <a:cs typeface="Calibri" pitchFamily="34" charset="0"/>
              </a:defRPr>
            </a:lvl5pPr>
            <a:lvl6pPr marL="2057349" indent="-228594" algn="l" defTabSz="914377" rtl="0" eaLnBrk="1" latinLnBrk="0" hangingPunct="1">
              <a:spcBef>
                <a:spcPct val="20000"/>
              </a:spcBef>
              <a:buClr>
                <a:schemeClr val="accent6"/>
              </a:buClr>
              <a:buFont typeface="Calibri" pitchFamily="34" charset="0"/>
              <a:buChar char="»"/>
              <a:defRPr sz="2133" kern="1200">
                <a:solidFill>
                  <a:schemeClr val="tx1"/>
                </a:solidFill>
                <a:latin typeface="Calibri" pitchFamily="34" charset="0"/>
                <a:ea typeface="+mn-ea"/>
                <a:cs typeface="Calibri" pitchFamily="34" charset="0"/>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US" sz="1400" b="1" u="sng" dirty="0">
              <a:ea typeface="Calibri"/>
              <a:cs typeface="Calibri"/>
            </a:endParaRPr>
          </a:p>
        </p:txBody>
      </p:sp>
      <p:sp>
        <p:nvSpPr>
          <p:cNvPr id="10" name="Slide Number Placeholder 9">
            <a:extLst>
              <a:ext uri="{FF2B5EF4-FFF2-40B4-BE49-F238E27FC236}">
                <a16:creationId xmlns:a16="http://schemas.microsoft.com/office/drawing/2014/main" id="{B91B137A-0A18-CD0B-4E9C-462D57E3D7D2}"/>
              </a:ext>
            </a:extLst>
          </p:cNvPr>
          <p:cNvSpPr>
            <a:spLocks noGrp="1"/>
          </p:cNvSpPr>
          <p:nvPr>
            <p:ph type="sldNum" sz="quarter" idx="4"/>
          </p:nvPr>
        </p:nvSpPr>
        <p:spPr/>
        <p:txBody>
          <a:bodyPr/>
          <a:lstStyle/>
          <a:p>
            <a:fld id="{B6362DDE-5EFE-4D6A-AD62-664744385D96}" type="slidenum">
              <a:rPr lang="en-CA" smtClean="0"/>
              <a:pPr/>
              <a:t>5</a:t>
            </a:fld>
            <a:endParaRPr lang="en-CA"/>
          </a:p>
        </p:txBody>
      </p:sp>
      <p:sp>
        <p:nvSpPr>
          <p:cNvPr id="11" name="TextBox 10">
            <a:extLst>
              <a:ext uri="{FF2B5EF4-FFF2-40B4-BE49-F238E27FC236}">
                <a16:creationId xmlns:a16="http://schemas.microsoft.com/office/drawing/2014/main" id="{72604AD2-F107-7A14-16B3-C42A53C22EF7}"/>
              </a:ext>
            </a:extLst>
          </p:cNvPr>
          <p:cNvSpPr txBox="1"/>
          <p:nvPr/>
        </p:nvSpPr>
        <p:spPr>
          <a:xfrm>
            <a:off x="381844" y="1368360"/>
            <a:ext cx="5876616" cy="4001095"/>
          </a:xfrm>
          <a:prstGeom prst="rect">
            <a:avLst/>
          </a:prstGeom>
          <a:noFill/>
        </p:spPr>
        <p:txBody>
          <a:bodyPr wrap="square">
            <a:spAutoFit/>
          </a:bodyPr>
          <a:lstStyle/>
          <a:p>
            <a:pPr marL="285750" indent="-285750" algn="just">
              <a:buClrTx/>
              <a:buFont typeface="Wingdings" panose="05000000000000000000" pitchFamily="2" charset="2"/>
              <a:buChar char="§"/>
            </a:pPr>
            <a:r>
              <a:rPr lang="en-US" sz="1600" kern="100" dirty="0">
                <a:cs typeface="Times New Roman" panose="02020603050405020304" pitchFamily="18" charset="0"/>
              </a:rPr>
              <a:t>A</a:t>
            </a:r>
            <a:r>
              <a:rPr lang="en-US" sz="1600" kern="100" dirty="0">
                <a:latin typeface="+mn-lt"/>
                <a:cs typeface="Times New Roman" panose="02020603050405020304" pitchFamily="18" charset="0"/>
              </a:rPr>
              <a:t>s one of the fastest-growing states, Florida will need to improve its transportation infrastructure for years to come. These projects place significant stress on utility companies due to the unpredictability and cost associated with relocating pipelines, especially since there is no corresponding increase in revenue to offset these expenses. </a:t>
            </a:r>
          </a:p>
          <a:p>
            <a:pPr marL="285750" indent="-285750" algn="just">
              <a:buClrTx/>
              <a:buFont typeface="Wingdings" panose="05000000000000000000" pitchFamily="2" charset="2"/>
              <a:buChar char="§"/>
            </a:pPr>
            <a:endParaRPr lang="en-US" sz="1600" kern="100" dirty="0">
              <a:cs typeface="Times New Roman" panose="02020603050405020304" pitchFamily="18" charset="0"/>
            </a:endParaRPr>
          </a:p>
          <a:p>
            <a:pPr marL="285750" indent="-285750" algn="just">
              <a:buClrTx/>
              <a:buFont typeface="Wingdings" panose="05000000000000000000" pitchFamily="2" charset="2"/>
              <a:buChar char="§"/>
            </a:pPr>
            <a:r>
              <a:rPr lang="en-US" sz="1600" kern="100" dirty="0">
                <a:latin typeface="+mn-lt"/>
                <a:cs typeface="Times New Roman" panose="02020603050405020304" pitchFamily="18" charset="0"/>
              </a:rPr>
              <a:t>PGS understands that qualifying facilities under the statutes include</a:t>
            </a:r>
            <a:r>
              <a:rPr lang="en-US" sz="1600" kern="100" dirty="0">
                <a:effectLst/>
                <a:latin typeface="+mn-lt"/>
                <a:ea typeface="Aptos" panose="020B0004020202020204" pitchFamily="34" charset="0"/>
                <a:cs typeface="Times New Roman" panose="02020603050405020304" pitchFamily="18" charset="0"/>
              </a:rPr>
              <a:t> gas mains, laterals, service lines used to distribute natural gas, and ancillary equipment such as regulating stations, meters, and pressure monitoring equipment.</a:t>
            </a:r>
            <a:endParaRPr lang="en-US" sz="1600" kern="100" dirty="0">
              <a:ea typeface="Aptos" panose="020B0004020202020204" pitchFamily="34" charset="0"/>
              <a:cs typeface="Times New Roman" panose="02020603050405020304" pitchFamily="18" charset="0"/>
            </a:endParaRPr>
          </a:p>
          <a:p>
            <a:pPr marL="285750" indent="-285750" algn="just">
              <a:buClrTx/>
              <a:buFont typeface="Wingdings" panose="05000000000000000000" pitchFamily="2" charset="2"/>
              <a:buChar char="§"/>
            </a:pPr>
            <a:endParaRPr kumimoji="0" lang="en-US" sz="1600" i="0" u="none" strike="noStrike" kern="100" cap="none" spc="0" normalizeH="0" baseline="0" noProof="0" dirty="0">
              <a:ln>
                <a:noFill/>
              </a:ln>
              <a:uLnTx/>
              <a:uFillTx/>
              <a:latin typeface="+mn-lt"/>
              <a:cs typeface="Times New Roman" panose="02020603050405020304" pitchFamily="18" charset="0"/>
            </a:endParaRPr>
          </a:p>
          <a:p>
            <a:pPr marL="285750" indent="-285750" algn="just">
              <a:buClrTx/>
              <a:buFont typeface="Wingdings" panose="05000000000000000000" pitchFamily="2" charset="2"/>
              <a:buChar char="§"/>
            </a:pPr>
            <a:r>
              <a:rPr kumimoji="0" lang="en-US" sz="1600" i="0" u="none" strike="noStrike" kern="100" cap="none" spc="0" normalizeH="0" baseline="0" noProof="0" dirty="0">
                <a:ln>
                  <a:noFill/>
                </a:ln>
                <a:uLnTx/>
                <a:uFillTx/>
                <a:latin typeface="+mn-lt"/>
                <a:cs typeface="Times New Roman" panose="02020603050405020304" pitchFamily="18" charset="0"/>
              </a:rPr>
              <a:t>Predictable cost recovery of these non-discretionary relocation projects through a clause will allow the LDCs to serve customers more efficiently.</a:t>
            </a:r>
            <a:endParaRPr lang="en-US" sz="1600" kern="100" dirty="0">
              <a:ea typeface="Aptos" panose="020B0004020202020204" pitchFamily="34" charset="0"/>
              <a:cs typeface="Times New Roman" panose="02020603050405020304" pitchFamily="18" charset="0"/>
            </a:endParaRPr>
          </a:p>
          <a:p>
            <a:pPr algn="just">
              <a:buClrTx/>
            </a:pPr>
            <a:endParaRPr lang="en-US" sz="1400" kern="100" dirty="0">
              <a:effectLst/>
              <a:latin typeface="+mn-lt"/>
              <a:ea typeface="Aptos" panose="020B0004020202020204" pitchFamily="34" charset="0"/>
              <a:cs typeface="Times New Roman" panose="02020603050405020304" pitchFamily="18" charset="0"/>
            </a:endParaRPr>
          </a:p>
        </p:txBody>
      </p:sp>
      <p:pic>
        <p:nvPicPr>
          <p:cNvPr id="19" name="Picture 18">
            <a:extLst>
              <a:ext uri="{FF2B5EF4-FFF2-40B4-BE49-F238E27FC236}">
                <a16:creationId xmlns:a16="http://schemas.microsoft.com/office/drawing/2014/main" id="{1C19E3D7-B319-097F-91D5-20C42BFB0743}"/>
              </a:ext>
            </a:extLst>
          </p:cNvPr>
          <p:cNvPicPr>
            <a:picLocks noChangeAspect="1"/>
          </p:cNvPicPr>
          <p:nvPr/>
        </p:nvPicPr>
        <p:blipFill>
          <a:blip r:embed="rId5"/>
          <a:stretch>
            <a:fillRect/>
          </a:stretch>
        </p:blipFill>
        <p:spPr>
          <a:xfrm>
            <a:off x="7935413" y="3542677"/>
            <a:ext cx="3853345" cy="3178619"/>
          </a:xfrm>
          <a:prstGeom prst="rect">
            <a:avLst/>
          </a:prstGeom>
        </p:spPr>
      </p:pic>
      <p:pic>
        <p:nvPicPr>
          <p:cNvPr id="26" name="Picture 25">
            <a:extLst>
              <a:ext uri="{FF2B5EF4-FFF2-40B4-BE49-F238E27FC236}">
                <a16:creationId xmlns:a16="http://schemas.microsoft.com/office/drawing/2014/main" id="{6ACECE0A-F3E9-7EC5-5475-3FC95F434542}"/>
              </a:ext>
            </a:extLst>
          </p:cNvPr>
          <p:cNvPicPr>
            <a:picLocks noChangeAspect="1"/>
          </p:cNvPicPr>
          <p:nvPr/>
        </p:nvPicPr>
        <p:blipFill>
          <a:blip r:embed="rId6">
            <a:extLst>
              <a:ext uri="{BEBA8EAE-BF5A-486C-A8C5-ECC9F3942E4B}">
                <a14:imgProps xmlns:a14="http://schemas.microsoft.com/office/drawing/2010/main">
                  <a14:imgLayer r:embed="rId7">
                    <a14:imgEffect>
                      <a14:saturation sat="268000"/>
                    </a14:imgEffect>
                  </a14:imgLayer>
                </a14:imgProps>
              </a:ext>
            </a:extLst>
          </a:blip>
          <a:stretch>
            <a:fillRect/>
          </a:stretch>
        </p:blipFill>
        <p:spPr>
          <a:xfrm>
            <a:off x="7794661" y="346627"/>
            <a:ext cx="3943770" cy="3001261"/>
          </a:xfrm>
          <a:prstGeom prst="rect">
            <a:avLst/>
          </a:prstGeom>
          <a:solidFill>
            <a:schemeClr val="bg1">
              <a:lumMod val="85000"/>
            </a:schemeClr>
          </a:solidFill>
        </p:spPr>
      </p:pic>
      <p:pic>
        <p:nvPicPr>
          <p:cNvPr id="27" name="Picture 26" descr="A blue and red logo&#10;&#10;Description automatically generated">
            <a:extLst>
              <a:ext uri="{FF2B5EF4-FFF2-40B4-BE49-F238E27FC236}">
                <a16:creationId xmlns:a16="http://schemas.microsoft.com/office/drawing/2014/main" id="{4F88A1CA-2811-D79F-A026-BE4C1BA224BD}"/>
              </a:ext>
            </a:extLst>
          </p:cNvPr>
          <p:cNvPicPr>
            <a:picLocks noChangeAspect="1"/>
          </p:cNvPicPr>
          <p:nvPr/>
        </p:nvPicPr>
        <p:blipFill>
          <a:blip r:embed="rId8"/>
          <a:stretch>
            <a:fillRect/>
          </a:stretch>
        </p:blipFill>
        <p:spPr>
          <a:xfrm>
            <a:off x="7956811" y="6366031"/>
            <a:ext cx="705331" cy="342900"/>
          </a:xfrm>
          <a:prstGeom prst="rect">
            <a:avLst/>
          </a:prstGeom>
        </p:spPr>
      </p:pic>
    </p:spTree>
    <p:extLst>
      <p:ext uri="{BB962C8B-B14F-4D97-AF65-F5344CB8AC3E}">
        <p14:creationId xmlns:p14="http://schemas.microsoft.com/office/powerpoint/2010/main" val="1203194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9CC453-FBFB-4640-9E96-CF56963E9A17}"/>
              </a:ext>
            </a:extLst>
          </p:cNvPr>
          <p:cNvSpPr>
            <a:spLocks noGrp="1"/>
          </p:cNvSpPr>
          <p:nvPr>
            <p:ph type="title"/>
          </p:nvPr>
        </p:nvSpPr>
        <p:spPr>
          <a:xfrm>
            <a:off x="871961" y="87293"/>
            <a:ext cx="10574965" cy="879918"/>
          </a:xfrm>
        </p:spPr>
        <p:txBody>
          <a:bodyPr>
            <a:normAutofit/>
          </a:bodyPr>
          <a:lstStyle/>
          <a:p>
            <a:r>
              <a:rPr lang="en-US" sz="3200" dirty="0">
                <a:latin typeface="Calibri"/>
                <a:ea typeface="Calibri"/>
                <a:cs typeface="Calibri"/>
              </a:rPr>
              <a:t>Facility Relocation Overview</a:t>
            </a:r>
            <a:r>
              <a:rPr lang="en-US" sz="3200" dirty="0">
                <a:latin typeface="Calibri"/>
                <a:cs typeface="Calibri"/>
              </a:rPr>
              <a:t/>
            </a:r>
            <a:br>
              <a:rPr lang="en-US" sz="3200" dirty="0">
                <a:latin typeface="Calibri"/>
                <a:cs typeface="Calibri"/>
              </a:rPr>
            </a:br>
            <a:endParaRPr lang="en-IN" sz="1300" dirty="0">
              <a:solidFill>
                <a:schemeClr val="tx1"/>
              </a:solidFill>
            </a:endParaRPr>
          </a:p>
        </p:txBody>
      </p:sp>
      <p:sp>
        <p:nvSpPr>
          <p:cNvPr id="4" name="Slide Number Placeholder 3">
            <a:extLst>
              <a:ext uri="{FF2B5EF4-FFF2-40B4-BE49-F238E27FC236}">
                <a16:creationId xmlns:a16="http://schemas.microsoft.com/office/drawing/2014/main" id="{66267BF8-FBFF-471D-82BF-D7DA4BD027B0}"/>
              </a:ext>
            </a:extLst>
          </p:cNvPr>
          <p:cNvSpPr>
            <a:spLocks noGrp="1"/>
          </p:cNvSpPr>
          <p:nvPr>
            <p:ph type="sldNum" sz="quarter" idx="12"/>
          </p:nvPr>
        </p:nvSpPr>
        <p:spPr/>
        <p:txBody>
          <a:bodyPr/>
          <a:lstStyle/>
          <a:p>
            <a:fld id="{FAC6F2D3-2E25-4B3A-B3CD-02A8CF87C7F6}" type="slidenum">
              <a:rPr lang="en-US" smtClean="0"/>
              <a:pPr/>
              <a:t>6</a:t>
            </a:fld>
            <a:endParaRPr lang="en-US"/>
          </a:p>
        </p:txBody>
      </p:sp>
      <p:grpSp>
        <p:nvGrpSpPr>
          <p:cNvPr id="27" name="Group 26">
            <a:extLst>
              <a:ext uri="{FF2B5EF4-FFF2-40B4-BE49-F238E27FC236}">
                <a16:creationId xmlns:a16="http://schemas.microsoft.com/office/drawing/2014/main" id="{F7AC222A-959F-44B1-A1A6-683EF594C551}"/>
              </a:ext>
            </a:extLst>
          </p:cNvPr>
          <p:cNvGrpSpPr/>
          <p:nvPr/>
        </p:nvGrpSpPr>
        <p:grpSpPr>
          <a:xfrm>
            <a:off x="1290558" y="1448797"/>
            <a:ext cx="1915653" cy="1021603"/>
            <a:chOff x="935028" y="1026817"/>
            <a:chExt cx="1805617" cy="963193"/>
          </a:xfrm>
        </p:grpSpPr>
        <p:sp>
          <p:nvSpPr>
            <p:cNvPr id="28" name="TextBox 27">
              <a:extLst>
                <a:ext uri="{FF2B5EF4-FFF2-40B4-BE49-F238E27FC236}">
                  <a16:creationId xmlns:a16="http://schemas.microsoft.com/office/drawing/2014/main" id="{306B3761-FD04-4776-83BD-2C7E9D5224C6}"/>
                </a:ext>
              </a:extLst>
            </p:cNvPr>
            <p:cNvSpPr txBox="1"/>
            <p:nvPr/>
          </p:nvSpPr>
          <p:spPr>
            <a:xfrm>
              <a:off x="935028" y="1699830"/>
              <a:ext cx="1805617" cy="290180"/>
            </a:xfrm>
            <a:prstGeom prst="rect">
              <a:avLst/>
            </a:prstGeom>
            <a:noFill/>
          </p:spPr>
          <p:txBody>
            <a:bodyPr wrap="none" rtlCol="0" anchor="ctr">
              <a:spAutoFit/>
            </a:bodyPr>
            <a:lstStyle/>
            <a:p>
              <a:pPr algn="ctr"/>
              <a:r>
                <a:rPr lang="en-US" sz="1400" b="1" dirty="0">
                  <a:solidFill>
                    <a:schemeClr val="bg2"/>
                  </a:solidFill>
                  <a:latin typeface="Arial" panose="020B0604020202020204" pitchFamily="34" charset="0"/>
                  <a:cs typeface="Arial" panose="020B0604020202020204" pitchFamily="34" charset="0"/>
                </a:rPr>
                <a:t>Mandating Authority</a:t>
              </a:r>
            </a:p>
          </p:txBody>
        </p:sp>
        <p:grpSp>
          <p:nvGrpSpPr>
            <p:cNvPr id="29" name="Group 28">
              <a:extLst>
                <a:ext uri="{FF2B5EF4-FFF2-40B4-BE49-F238E27FC236}">
                  <a16:creationId xmlns:a16="http://schemas.microsoft.com/office/drawing/2014/main" id="{B8081EA6-6FA7-4C28-BF04-8C4AC231A6CD}"/>
                </a:ext>
              </a:extLst>
            </p:cNvPr>
            <p:cNvGrpSpPr/>
            <p:nvPr/>
          </p:nvGrpSpPr>
          <p:grpSpPr>
            <a:xfrm>
              <a:off x="1475882" y="1026817"/>
              <a:ext cx="637844" cy="637844"/>
              <a:chOff x="1495669" y="995083"/>
              <a:chExt cx="527144" cy="527144"/>
            </a:xfrm>
          </p:grpSpPr>
          <p:sp>
            <p:nvSpPr>
              <p:cNvPr id="31" name="Oval 30">
                <a:extLst>
                  <a:ext uri="{FF2B5EF4-FFF2-40B4-BE49-F238E27FC236}">
                    <a16:creationId xmlns:a16="http://schemas.microsoft.com/office/drawing/2014/main" id="{769E2B66-F7CE-4305-B0C0-EC59100C93CC}"/>
                  </a:ext>
                </a:extLst>
              </p:cNvPr>
              <p:cNvSpPr/>
              <p:nvPr/>
            </p:nvSpPr>
            <p:spPr>
              <a:xfrm>
                <a:off x="1495669" y="995083"/>
                <a:ext cx="527144" cy="527144"/>
              </a:xfrm>
              <a:prstGeom prst="ellipse">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4">
                <a:extLst>
                  <a:ext uri="{FF2B5EF4-FFF2-40B4-BE49-F238E27FC236}">
                    <a16:creationId xmlns:a16="http://schemas.microsoft.com/office/drawing/2014/main" id="{CACB1C1A-0D2D-405D-9CAF-47CE3F53DCEE}"/>
                  </a:ext>
                </a:extLst>
              </p:cNvPr>
              <p:cNvGrpSpPr>
                <a:grpSpLocks noChangeAspect="1"/>
              </p:cNvGrpSpPr>
              <p:nvPr/>
            </p:nvGrpSpPr>
            <p:grpSpPr bwMode="auto">
              <a:xfrm>
                <a:off x="1607582" y="1106996"/>
                <a:ext cx="303318" cy="303318"/>
                <a:chOff x="359" y="-253"/>
                <a:chExt cx="4098" cy="4098"/>
              </a:xfrm>
              <a:solidFill>
                <a:schemeClr val="accent1"/>
              </a:solidFill>
            </p:grpSpPr>
            <p:sp>
              <p:nvSpPr>
                <p:cNvPr id="33" name="Freeform 6">
                  <a:extLst>
                    <a:ext uri="{FF2B5EF4-FFF2-40B4-BE49-F238E27FC236}">
                      <a16:creationId xmlns:a16="http://schemas.microsoft.com/office/drawing/2014/main" id="{AB7EAB74-C941-40EB-B4FF-AAB32E2AE096}"/>
                    </a:ext>
                  </a:extLst>
                </p:cNvPr>
                <p:cNvSpPr>
                  <a:spLocks noEditPoints="1"/>
                </p:cNvSpPr>
                <p:nvPr/>
              </p:nvSpPr>
              <p:spPr bwMode="auto">
                <a:xfrm>
                  <a:off x="1808" y="-253"/>
                  <a:ext cx="2161" cy="2400"/>
                </a:xfrm>
                <a:custGeom>
                  <a:avLst/>
                  <a:gdLst>
                    <a:gd name="T0" fmla="*/ 1200 w 2161"/>
                    <a:gd name="T1" fmla="*/ 1269 h 2400"/>
                    <a:gd name="T2" fmla="*/ 1920 w 2161"/>
                    <a:gd name="T3" fmla="*/ 1614 h 2400"/>
                    <a:gd name="T4" fmla="*/ 240 w 2161"/>
                    <a:gd name="T5" fmla="*/ 836 h 2400"/>
                    <a:gd name="T6" fmla="*/ 960 w 2161"/>
                    <a:gd name="T7" fmla="*/ 2064 h 2400"/>
                    <a:gd name="T8" fmla="*/ 240 w 2161"/>
                    <a:gd name="T9" fmla="*/ 836 h 2400"/>
                    <a:gd name="T10" fmla="*/ 365 w 2161"/>
                    <a:gd name="T11" fmla="*/ 631 h 2400"/>
                    <a:gd name="T12" fmla="*/ 525 w 2161"/>
                    <a:gd name="T13" fmla="*/ 728 h 2400"/>
                    <a:gd name="T14" fmla="*/ 665 w 2161"/>
                    <a:gd name="T15" fmla="*/ 811 h 2400"/>
                    <a:gd name="T16" fmla="*/ 783 w 2161"/>
                    <a:gd name="T17" fmla="*/ 882 h 2400"/>
                    <a:gd name="T18" fmla="*/ 879 w 2161"/>
                    <a:gd name="T19" fmla="*/ 940 h 2400"/>
                    <a:gd name="T20" fmla="*/ 958 w 2161"/>
                    <a:gd name="T21" fmla="*/ 987 h 2400"/>
                    <a:gd name="T22" fmla="*/ 1017 w 2161"/>
                    <a:gd name="T23" fmla="*/ 1022 h 2400"/>
                    <a:gd name="T24" fmla="*/ 1057 w 2161"/>
                    <a:gd name="T25" fmla="*/ 1047 h 2400"/>
                    <a:gd name="T26" fmla="*/ 1081 w 2161"/>
                    <a:gd name="T27" fmla="*/ 1061 h 2400"/>
                    <a:gd name="T28" fmla="*/ 1081 w 2161"/>
                    <a:gd name="T29" fmla="*/ 256 h 2400"/>
                    <a:gd name="T30" fmla="*/ 1109 w 2161"/>
                    <a:gd name="T31" fmla="*/ 4 h 2400"/>
                    <a:gd name="T32" fmla="*/ 2096 w 2161"/>
                    <a:gd name="T33" fmla="*/ 518 h 2400"/>
                    <a:gd name="T34" fmla="*/ 2136 w 2161"/>
                    <a:gd name="T35" fmla="*/ 551 h 2400"/>
                    <a:gd name="T36" fmla="*/ 2157 w 2161"/>
                    <a:gd name="T37" fmla="*/ 599 h 2400"/>
                    <a:gd name="T38" fmla="*/ 2161 w 2161"/>
                    <a:gd name="T39" fmla="*/ 1681 h 2400"/>
                    <a:gd name="T40" fmla="*/ 2151 w 2161"/>
                    <a:gd name="T41" fmla="*/ 1729 h 2400"/>
                    <a:gd name="T42" fmla="*/ 2124 w 2161"/>
                    <a:gd name="T43" fmla="*/ 1767 h 2400"/>
                    <a:gd name="T44" fmla="*/ 1144 w 2161"/>
                    <a:gd name="T45" fmla="*/ 2383 h 2400"/>
                    <a:gd name="T46" fmla="*/ 1094 w 2161"/>
                    <a:gd name="T47" fmla="*/ 2400 h 2400"/>
                    <a:gd name="T48" fmla="*/ 1041 w 2161"/>
                    <a:gd name="T49" fmla="*/ 2394 h 2400"/>
                    <a:gd name="T50" fmla="*/ 56 w 2161"/>
                    <a:gd name="T51" fmla="*/ 1783 h 2400"/>
                    <a:gd name="T52" fmla="*/ 21 w 2161"/>
                    <a:gd name="T53" fmla="*/ 1750 h 2400"/>
                    <a:gd name="T54" fmla="*/ 3 w 2161"/>
                    <a:gd name="T55" fmla="*/ 1705 h 2400"/>
                    <a:gd name="T56" fmla="*/ 0 w 2161"/>
                    <a:gd name="T57" fmla="*/ 625 h 2400"/>
                    <a:gd name="T58" fmla="*/ 11 w 2161"/>
                    <a:gd name="T59" fmla="*/ 574 h 2400"/>
                    <a:gd name="T60" fmla="*/ 42 w 2161"/>
                    <a:gd name="T61" fmla="*/ 533 h 2400"/>
                    <a:gd name="T62" fmla="*/ 1025 w 2161"/>
                    <a:gd name="T63" fmla="*/ 14 h 2400"/>
                    <a:gd name="T64" fmla="*/ 1081 w 2161"/>
                    <a:gd name="T65" fmla="*/ 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61" h="2400">
                      <a:moveTo>
                        <a:pt x="1920" y="836"/>
                      </a:moveTo>
                      <a:lnTo>
                        <a:pt x="1200" y="1269"/>
                      </a:lnTo>
                      <a:lnTo>
                        <a:pt x="1200" y="2064"/>
                      </a:lnTo>
                      <a:lnTo>
                        <a:pt x="1920" y="1614"/>
                      </a:lnTo>
                      <a:lnTo>
                        <a:pt x="1920" y="836"/>
                      </a:lnTo>
                      <a:close/>
                      <a:moveTo>
                        <a:pt x="240" y="836"/>
                      </a:moveTo>
                      <a:lnTo>
                        <a:pt x="240" y="1614"/>
                      </a:lnTo>
                      <a:lnTo>
                        <a:pt x="960" y="2064"/>
                      </a:lnTo>
                      <a:lnTo>
                        <a:pt x="960" y="1269"/>
                      </a:lnTo>
                      <a:lnTo>
                        <a:pt x="240" y="836"/>
                      </a:lnTo>
                      <a:close/>
                      <a:moveTo>
                        <a:pt x="1081" y="256"/>
                      </a:moveTo>
                      <a:lnTo>
                        <a:pt x="365" y="631"/>
                      </a:lnTo>
                      <a:lnTo>
                        <a:pt x="447" y="681"/>
                      </a:lnTo>
                      <a:lnTo>
                        <a:pt x="525" y="728"/>
                      </a:lnTo>
                      <a:lnTo>
                        <a:pt x="598" y="771"/>
                      </a:lnTo>
                      <a:lnTo>
                        <a:pt x="665" y="811"/>
                      </a:lnTo>
                      <a:lnTo>
                        <a:pt x="725" y="848"/>
                      </a:lnTo>
                      <a:lnTo>
                        <a:pt x="783" y="882"/>
                      </a:lnTo>
                      <a:lnTo>
                        <a:pt x="833" y="913"/>
                      </a:lnTo>
                      <a:lnTo>
                        <a:pt x="879" y="940"/>
                      </a:lnTo>
                      <a:lnTo>
                        <a:pt x="922" y="965"/>
                      </a:lnTo>
                      <a:lnTo>
                        <a:pt x="958" y="987"/>
                      </a:lnTo>
                      <a:lnTo>
                        <a:pt x="990" y="1006"/>
                      </a:lnTo>
                      <a:lnTo>
                        <a:pt x="1017" y="1022"/>
                      </a:lnTo>
                      <a:lnTo>
                        <a:pt x="1040" y="1036"/>
                      </a:lnTo>
                      <a:lnTo>
                        <a:pt x="1057" y="1047"/>
                      </a:lnTo>
                      <a:lnTo>
                        <a:pt x="1071" y="1056"/>
                      </a:lnTo>
                      <a:lnTo>
                        <a:pt x="1081" y="1061"/>
                      </a:lnTo>
                      <a:lnTo>
                        <a:pt x="1796" y="631"/>
                      </a:lnTo>
                      <a:lnTo>
                        <a:pt x="1081" y="256"/>
                      </a:lnTo>
                      <a:close/>
                      <a:moveTo>
                        <a:pt x="1081" y="0"/>
                      </a:moveTo>
                      <a:lnTo>
                        <a:pt x="1109" y="4"/>
                      </a:lnTo>
                      <a:lnTo>
                        <a:pt x="1136" y="14"/>
                      </a:lnTo>
                      <a:lnTo>
                        <a:pt x="2096" y="518"/>
                      </a:lnTo>
                      <a:lnTo>
                        <a:pt x="2119" y="533"/>
                      </a:lnTo>
                      <a:lnTo>
                        <a:pt x="2136" y="551"/>
                      </a:lnTo>
                      <a:lnTo>
                        <a:pt x="2150" y="574"/>
                      </a:lnTo>
                      <a:lnTo>
                        <a:pt x="2157" y="599"/>
                      </a:lnTo>
                      <a:lnTo>
                        <a:pt x="2161" y="625"/>
                      </a:lnTo>
                      <a:lnTo>
                        <a:pt x="2161" y="1681"/>
                      </a:lnTo>
                      <a:lnTo>
                        <a:pt x="2158" y="1705"/>
                      </a:lnTo>
                      <a:lnTo>
                        <a:pt x="2151" y="1729"/>
                      </a:lnTo>
                      <a:lnTo>
                        <a:pt x="2140" y="1750"/>
                      </a:lnTo>
                      <a:lnTo>
                        <a:pt x="2124" y="1767"/>
                      </a:lnTo>
                      <a:lnTo>
                        <a:pt x="2104" y="1783"/>
                      </a:lnTo>
                      <a:lnTo>
                        <a:pt x="1144" y="2383"/>
                      </a:lnTo>
                      <a:lnTo>
                        <a:pt x="1120" y="2394"/>
                      </a:lnTo>
                      <a:lnTo>
                        <a:pt x="1094" y="2400"/>
                      </a:lnTo>
                      <a:lnTo>
                        <a:pt x="1067" y="2400"/>
                      </a:lnTo>
                      <a:lnTo>
                        <a:pt x="1041" y="2394"/>
                      </a:lnTo>
                      <a:lnTo>
                        <a:pt x="1016" y="2383"/>
                      </a:lnTo>
                      <a:lnTo>
                        <a:pt x="56" y="1783"/>
                      </a:lnTo>
                      <a:lnTo>
                        <a:pt x="36" y="1767"/>
                      </a:lnTo>
                      <a:lnTo>
                        <a:pt x="21" y="1750"/>
                      </a:lnTo>
                      <a:lnTo>
                        <a:pt x="9" y="1729"/>
                      </a:lnTo>
                      <a:lnTo>
                        <a:pt x="3" y="1705"/>
                      </a:lnTo>
                      <a:lnTo>
                        <a:pt x="0" y="1681"/>
                      </a:lnTo>
                      <a:lnTo>
                        <a:pt x="0" y="625"/>
                      </a:lnTo>
                      <a:lnTo>
                        <a:pt x="3" y="597"/>
                      </a:lnTo>
                      <a:lnTo>
                        <a:pt x="11" y="574"/>
                      </a:lnTo>
                      <a:lnTo>
                        <a:pt x="25" y="551"/>
                      </a:lnTo>
                      <a:lnTo>
                        <a:pt x="42" y="533"/>
                      </a:lnTo>
                      <a:lnTo>
                        <a:pt x="64" y="518"/>
                      </a:lnTo>
                      <a:lnTo>
                        <a:pt x="1025" y="14"/>
                      </a:lnTo>
                      <a:lnTo>
                        <a:pt x="1052" y="4"/>
                      </a:lnTo>
                      <a:lnTo>
                        <a:pt x="10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DA531D61-BAFF-40A8-A758-87462C5754FD}"/>
                    </a:ext>
                  </a:extLst>
                </p:cNvPr>
                <p:cNvSpPr>
                  <a:spLocks noEditPoints="1"/>
                </p:cNvSpPr>
                <p:nvPr/>
              </p:nvSpPr>
              <p:spPr bwMode="auto">
                <a:xfrm>
                  <a:off x="359" y="2077"/>
                  <a:ext cx="4098" cy="1768"/>
                </a:xfrm>
                <a:custGeom>
                  <a:avLst/>
                  <a:gdLst>
                    <a:gd name="T0" fmla="*/ 414 w 4098"/>
                    <a:gd name="T1" fmla="*/ 1516 h 1768"/>
                    <a:gd name="T2" fmla="*/ 481 w 4098"/>
                    <a:gd name="T3" fmla="*/ 1408 h 1768"/>
                    <a:gd name="T4" fmla="*/ 435 w 4098"/>
                    <a:gd name="T5" fmla="*/ 354 h 1768"/>
                    <a:gd name="T6" fmla="*/ 1217 w 4098"/>
                    <a:gd name="T7" fmla="*/ 241 h 1768"/>
                    <a:gd name="T8" fmla="*/ 941 w 4098"/>
                    <a:gd name="T9" fmla="*/ 313 h 1768"/>
                    <a:gd name="T10" fmla="*/ 720 w 4098"/>
                    <a:gd name="T11" fmla="*/ 1408 h 1768"/>
                    <a:gd name="T12" fmla="*/ 1252 w 4098"/>
                    <a:gd name="T13" fmla="*/ 1516 h 1768"/>
                    <a:gd name="T14" fmla="*/ 2901 w 4098"/>
                    <a:gd name="T15" fmla="*/ 1515 h 1768"/>
                    <a:gd name="T16" fmla="*/ 3173 w 4098"/>
                    <a:gd name="T17" fmla="*/ 1379 h 1768"/>
                    <a:gd name="T18" fmla="*/ 3847 w 4098"/>
                    <a:gd name="T19" fmla="*/ 498 h 1768"/>
                    <a:gd name="T20" fmla="*/ 3832 w 4098"/>
                    <a:gd name="T21" fmla="*/ 372 h 1768"/>
                    <a:gd name="T22" fmla="*/ 3720 w 4098"/>
                    <a:gd name="T23" fmla="*/ 329 h 1768"/>
                    <a:gd name="T24" fmla="*/ 3085 w 4098"/>
                    <a:gd name="T25" fmla="*/ 967 h 1768"/>
                    <a:gd name="T26" fmla="*/ 2857 w 4098"/>
                    <a:gd name="T27" fmla="*/ 1048 h 1768"/>
                    <a:gd name="T28" fmla="*/ 1823 w 4098"/>
                    <a:gd name="T29" fmla="*/ 1091 h 1768"/>
                    <a:gd name="T30" fmla="*/ 1726 w 4098"/>
                    <a:gd name="T31" fmla="*/ 1178 h 1768"/>
                    <a:gd name="T32" fmla="*/ 1606 w 4098"/>
                    <a:gd name="T33" fmla="*/ 1133 h 1768"/>
                    <a:gd name="T34" fmla="*/ 1594 w 4098"/>
                    <a:gd name="T35" fmla="*/ 1007 h 1768"/>
                    <a:gd name="T36" fmla="*/ 1746 w 4098"/>
                    <a:gd name="T37" fmla="*/ 850 h 1768"/>
                    <a:gd name="T38" fmla="*/ 2778 w 4098"/>
                    <a:gd name="T39" fmla="*/ 808 h 1768"/>
                    <a:gd name="T40" fmla="*/ 2885 w 4098"/>
                    <a:gd name="T41" fmla="*/ 740 h 1768"/>
                    <a:gd name="T42" fmla="*/ 2871 w 4098"/>
                    <a:gd name="T43" fmla="*/ 612 h 1768"/>
                    <a:gd name="T44" fmla="*/ 2182 w 4098"/>
                    <a:gd name="T45" fmla="*/ 567 h 1768"/>
                    <a:gd name="T46" fmla="*/ 2058 w 4098"/>
                    <a:gd name="T47" fmla="*/ 555 h 1768"/>
                    <a:gd name="T48" fmla="*/ 1926 w 4098"/>
                    <a:gd name="T49" fmla="*/ 509 h 1768"/>
                    <a:gd name="T50" fmla="*/ 1732 w 4098"/>
                    <a:gd name="T51" fmla="*/ 417 h 1768"/>
                    <a:gd name="T52" fmla="*/ 1444 w 4098"/>
                    <a:gd name="T53" fmla="*/ 278 h 1768"/>
                    <a:gd name="T54" fmla="*/ 1243 w 4098"/>
                    <a:gd name="T55" fmla="*/ 0 h 1768"/>
                    <a:gd name="T56" fmla="*/ 1603 w 4098"/>
                    <a:gd name="T57" fmla="*/ 85 h 1768"/>
                    <a:gd name="T58" fmla="*/ 1869 w 4098"/>
                    <a:gd name="T59" fmla="*/ 216 h 1768"/>
                    <a:gd name="T60" fmla="*/ 2022 w 4098"/>
                    <a:gd name="T61" fmla="*/ 289 h 1768"/>
                    <a:gd name="T62" fmla="*/ 2110 w 4098"/>
                    <a:gd name="T63" fmla="*/ 320 h 1768"/>
                    <a:gd name="T64" fmla="*/ 2182 w 4098"/>
                    <a:gd name="T65" fmla="*/ 327 h 1768"/>
                    <a:gd name="T66" fmla="*/ 2972 w 4098"/>
                    <a:gd name="T67" fmla="*/ 385 h 1768"/>
                    <a:gd name="T68" fmla="*/ 3122 w 4098"/>
                    <a:gd name="T69" fmla="*/ 581 h 1768"/>
                    <a:gd name="T70" fmla="*/ 3632 w 4098"/>
                    <a:gd name="T71" fmla="*/ 101 h 1768"/>
                    <a:gd name="T72" fmla="*/ 3848 w 4098"/>
                    <a:gd name="T73" fmla="*/ 105 h 1768"/>
                    <a:gd name="T74" fmla="*/ 4025 w 4098"/>
                    <a:gd name="T75" fmla="*/ 228 h 1768"/>
                    <a:gd name="T76" fmla="*/ 4098 w 4098"/>
                    <a:gd name="T77" fmla="*/ 448 h 1768"/>
                    <a:gd name="T78" fmla="*/ 4026 w 4098"/>
                    <a:gd name="T79" fmla="*/ 663 h 1768"/>
                    <a:gd name="T80" fmla="*/ 3301 w 4098"/>
                    <a:gd name="T81" fmla="*/ 1584 h 1768"/>
                    <a:gd name="T82" fmla="*/ 2988 w 4098"/>
                    <a:gd name="T83" fmla="*/ 1741 h 1768"/>
                    <a:gd name="T84" fmla="*/ 1396 w 4098"/>
                    <a:gd name="T85" fmla="*/ 1766 h 1768"/>
                    <a:gd name="T86" fmla="*/ 760 w 4098"/>
                    <a:gd name="T87" fmla="*/ 1679 h 1768"/>
                    <a:gd name="T88" fmla="*/ 512 w 4098"/>
                    <a:gd name="T89" fmla="*/ 1734 h 1768"/>
                    <a:gd name="T90" fmla="*/ 93 w 4098"/>
                    <a:gd name="T91" fmla="*/ 1764 h 1768"/>
                    <a:gd name="T92" fmla="*/ 4 w 4098"/>
                    <a:gd name="T93" fmla="*/ 1675 h 1768"/>
                    <a:gd name="T94" fmla="*/ 26 w 4098"/>
                    <a:gd name="T95" fmla="*/ 133 h 1768"/>
                    <a:gd name="T96" fmla="*/ 360 w 4098"/>
                    <a:gd name="T97" fmla="*/ 87 h 1768"/>
                    <a:gd name="T98" fmla="*/ 582 w 4098"/>
                    <a:gd name="T99" fmla="*/ 164 h 1768"/>
                    <a:gd name="T100" fmla="*/ 821 w 4098"/>
                    <a:gd name="T101" fmla="*/ 104 h 1768"/>
                    <a:gd name="T102" fmla="*/ 1167 w 4098"/>
                    <a:gd name="T103" fmla="*/ 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98" h="1768">
                      <a:moveTo>
                        <a:pt x="240" y="327"/>
                      </a:moveTo>
                      <a:lnTo>
                        <a:pt x="240" y="1528"/>
                      </a:lnTo>
                      <a:lnTo>
                        <a:pt x="360" y="1528"/>
                      </a:lnTo>
                      <a:lnTo>
                        <a:pt x="387" y="1525"/>
                      </a:lnTo>
                      <a:lnTo>
                        <a:pt x="414" y="1516"/>
                      </a:lnTo>
                      <a:lnTo>
                        <a:pt x="435" y="1501"/>
                      </a:lnTo>
                      <a:lnTo>
                        <a:pt x="453" y="1482"/>
                      </a:lnTo>
                      <a:lnTo>
                        <a:pt x="468" y="1460"/>
                      </a:lnTo>
                      <a:lnTo>
                        <a:pt x="477" y="1435"/>
                      </a:lnTo>
                      <a:lnTo>
                        <a:pt x="481" y="1408"/>
                      </a:lnTo>
                      <a:lnTo>
                        <a:pt x="481" y="448"/>
                      </a:lnTo>
                      <a:lnTo>
                        <a:pt x="477" y="419"/>
                      </a:lnTo>
                      <a:lnTo>
                        <a:pt x="468" y="395"/>
                      </a:lnTo>
                      <a:lnTo>
                        <a:pt x="453" y="372"/>
                      </a:lnTo>
                      <a:lnTo>
                        <a:pt x="435" y="354"/>
                      </a:lnTo>
                      <a:lnTo>
                        <a:pt x="414" y="340"/>
                      </a:lnTo>
                      <a:lnTo>
                        <a:pt x="387" y="330"/>
                      </a:lnTo>
                      <a:lnTo>
                        <a:pt x="360" y="327"/>
                      </a:lnTo>
                      <a:lnTo>
                        <a:pt x="240" y="327"/>
                      </a:lnTo>
                      <a:close/>
                      <a:moveTo>
                        <a:pt x="1217" y="241"/>
                      </a:moveTo>
                      <a:lnTo>
                        <a:pt x="1160" y="244"/>
                      </a:lnTo>
                      <a:lnTo>
                        <a:pt x="1103" y="254"/>
                      </a:lnTo>
                      <a:lnTo>
                        <a:pt x="1047" y="268"/>
                      </a:lnTo>
                      <a:lnTo>
                        <a:pt x="993" y="288"/>
                      </a:lnTo>
                      <a:lnTo>
                        <a:pt x="941" y="313"/>
                      </a:lnTo>
                      <a:lnTo>
                        <a:pt x="892" y="342"/>
                      </a:lnTo>
                      <a:lnTo>
                        <a:pt x="846" y="376"/>
                      </a:lnTo>
                      <a:lnTo>
                        <a:pt x="802" y="416"/>
                      </a:lnTo>
                      <a:lnTo>
                        <a:pt x="720" y="498"/>
                      </a:lnTo>
                      <a:lnTo>
                        <a:pt x="720" y="1408"/>
                      </a:lnTo>
                      <a:lnTo>
                        <a:pt x="720" y="1420"/>
                      </a:lnTo>
                      <a:lnTo>
                        <a:pt x="849" y="1453"/>
                      </a:lnTo>
                      <a:lnTo>
                        <a:pt x="982" y="1480"/>
                      </a:lnTo>
                      <a:lnTo>
                        <a:pt x="1116" y="1501"/>
                      </a:lnTo>
                      <a:lnTo>
                        <a:pt x="1252" y="1516"/>
                      </a:lnTo>
                      <a:lnTo>
                        <a:pt x="1388" y="1525"/>
                      </a:lnTo>
                      <a:lnTo>
                        <a:pt x="1524" y="1528"/>
                      </a:lnTo>
                      <a:lnTo>
                        <a:pt x="2778" y="1528"/>
                      </a:lnTo>
                      <a:lnTo>
                        <a:pt x="2840" y="1525"/>
                      </a:lnTo>
                      <a:lnTo>
                        <a:pt x="2901" y="1515"/>
                      </a:lnTo>
                      <a:lnTo>
                        <a:pt x="2960" y="1499"/>
                      </a:lnTo>
                      <a:lnTo>
                        <a:pt x="3018" y="1477"/>
                      </a:lnTo>
                      <a:lnTo>
                        <a:pt x="3072" y="1450"/>
                      </a:lnTo>
                      <a:lnTo>
                        <a:pt x="3124" y="1417"/>
                      </a:lnTo>
                      <a:lnTo>
                        <a:pt x="3173" y="1379"/>
                      </a:lnTo>
                      <a:lnTo>
                        <a:pt x="3218" y="1336"/>
                      </a:lnTo>
                      <a:lnTo>
                        <a:pt x="3257" y="1287"/>
                      </a:lnTo>
                      <a:lnTo>
                        <a:pt x="3833" y="519"/>
                      </a:lnTo>
                      <a:lnTo>
                        <a:pt x="3833" y="519"/>
                      </a:lnTo>
                      <a:lnTo>
                        <a:pt x="3847" y="498"/>
                      </a:lnTo>
                      <a:lnTo>
                        <a:pt x="3855" y="473"/>
                      </a:lnTo>
                      <a:lnTo>
                        <a:pt x="3858" y="448"/>
                      </a:lnTo>
                      <a:lnTo>
                        <a:pt x="3855" y="419"/>
                      </a:lnTo>
                      <a:lnTo>
                        <a:pt x="3846" y="395"/>
                      </a:lnTo>
                      <a:lnTo>
                        <a:pt x="3832" y="372"/>
                      </a:lnTo>
                      <a:lnTo>
                        <a:pt x="3814" y="355"/>
                      </a:lnTo>
                      <a:lnTo>
                        <a:pt x="3793" y="341"/>
                      </a:lnTo>
                      <a:lnTo>
                        <a:pt x="3770" y="332"/>
                      </a:lnTo>
                      <a:lnTo>
                        <a:pt x="3745" y="327"/>
                      </a:lnTo>
                      <a:lnTo>
                        <a:pt x="3720" y="329"/>
                      </a:lnTo>
                      <a:lnTo>
                        <a:pt x="3696" y="335"/>
                      </a:lnTo>
                      <a:lnTo>
                        <a:pt x="3672" y="347"/>
                      </a:lnTo>
                      <a:lnTo>
                        <a:pt x="3650" y="366"/>
                      </a:lnTo>
                      <a:lnTo>
                        <a:pt x="3122" y="933"/>
                      </a:lnTo>
                      <a:lnTo>
                        <a:pt x="3085" y="967"/>
                      </a:lnTo>
                      <a:lnTo>
                        <a:pt x="3045" y="996"/>
                      </a:lnTo>
                      <a:lnTo>
                        <a:pt x="3001" y="1018"/>
                      </a:lnTo>
                      <a:lnTo>
                        <a:pt x="2956" y="1034"/>
                      </a:lnTo>
                      <a:lnTo>
                        <a:pt x="2907" y="1044"/>
                      </a:lnTo>
                      <a:lnTo>
                        <a:pt x="2857" y="1048"/>
                      </a:lnTo>
                      <a:lnTo>
                        <a:pt x="1916" y="1048"/>
                      </a:lnTo>
                      <a:lnTo>
                        <a:pt x="1889" y="1050"/>
                      </a:lnTo>
                      <a:lnTo>
                        <a:pt x="1864" y="1059"/>
                      </a:lnTo>
                      <a:lnTo>
                        <a:pt x="1842" y="1073"/>
                      </a:lnTo>
                      <a:lnTo>
                        <a:pt x="1823" y="1091"/>
                      </a:lnTo>
                      <a:lnTo>
                        <a:pt x="1808" y="1114"/>
                      </a:lnTo>
                      <a:lnTo>
                        <a:pt x="1793" y="1137"/>
                      </a:lnTo>
                      <a:lnTo>
                        <a:pt x="1775" y="1156"/>
                      </a:lnTo>
                      <a:lnTo>
                        <a:pt x="1751" y="1169"/>
                      </a:lnTo>
                      <a:lnTo>
                        <a:pt x="1726" y="1178"/>
                      </a:lnTo>
                      <a:lnTo>
                        <a:pt x="1700" y="1181"/>
                      </a:lnTo>
                      <a:lnTo>
                        <a:pt x="1674" y="1177"/>
                      </a:lnTo>
                      <a:lnTo>
                        <a:pt x="1648" y="1168"/>
                      </a:lnTo>
                      <a:lnTo>
                        <a:pt x="1624" y="1152"/>
                      </a:lnTo>
                      <a:lnTo>
                        <a:pt x="1606" y="1133"/>
                      </a:lnTo>
                      <a:lnTo>
                        <a:pt x="1592" y="1111"/>
                      </a:lnTo>
                      <a:lnTo>
                        <a:pt x="1585" y="1085"/>
                      </a:lnTo>
                      <a:lnTo>
                        <a:pt x="1581" y="1059"/>
                      </a:lnTo>
                      <a:lnTo>
                        <a:pt x="1585" y="1033"/>
                      </a:lnTo>
                      <a:lnTo>
                        <a:pt x="1594" y="1007"/>
                      </a:lnTo>
                      <a:lnTo>
                        <a:pt x="1617" y="967"/>
                      </a:lnTo>
                      <a:lnTo>
                        <a:pt x="1643" y="932"/>
                      </a:lnTo>
                      <a:lnTo>
                        <a:pt x="1674" y="900"/>
                      </a:lnTo>
                      <a:lnTo>
                        <a:pt x="1709" y="873"/>
                      </a:lnTo>
                      <a:lnTo>
                        <a:pt x="1746" y="850"/>
                      </a:lnTo>
                      <a:lnTo>
                        <a:pt x="1786" y="832"/>
                      </a:lnTo>
                      <a:lnTo>
                        <a:pt x="1827" y="818"/>
                      </a:lnTo>
                      <a:lnTo>
                        <a:pt x="1871" y="811"/>
                      </a:lnTo>
                      <a:lnTo>
                        <a:pt x="1916" y="808"/>
                      </a:lnTo>
                      <a:lnTo>
                        <a:pt x="2778" y="808"/>
                      </a:lnTo>
                      <a:lnTo>
                        <a:pt x="2805" y="804"/>
                      </a:lnTo>
                      <a:lnTo>
                        <a:pt x="2830" y="796"/>
                      </a:lnTo>
                      <a:lnTo>
                        <a:pt x="2852" y="781"/>
                      </a:lnTo>
                      <a:lnTo>
                        <a:pt x="2871" y="762"/>
                      </a:lnTo>
                      <a:lnTo>
                        <a:pt x="2885" y="740"/>
                      </a:lnTo>
                      <a:lnTo>
                        <a:pt x="2895" y="715"/>
                      </a:lnTo>
                      <a:lnTo>
                        <a:pt x="2897" y="688"/>
                      </a:lnTo>
                      <a:lnTo>
                        <a:pt x="2895" y="660"/>
                      </a:lnTo>
                      <a:lnTo>
                        <a:pt x="2885" y="634"/>
                      </a:lnTo>
                      <a:lnTo>
                        <a:pt x="2871" y="612"/>
                      </a:lnTo>
                      <a:lnTo>
                        <a:pt x="2852" y="593"/>
                      </a:lnTo>
                      <a:lnTo>
                        <a:pt x="2830" y="580"/>
                      </a:lnTo>
                      <a:lnTo>
                        <a:pt x="2805" y="571"/>
                      </a:lnTo>
                      <a:lnTo>
                        <a:pt x="2778" y="567"/>
                      </a:lnTo>
                      <a:lnTo>
                        <a:pt x="2182" y="567"/>
                      </a:lnTo>
                      <a:lnTo>
                        <a:pt x="2156" y="567"/>
                      </a:lnTo>
                      <a:lnTo>
                        <a:pt x="2130" y="566"/>
                      </a:lnTo>
                      <a:lnTo>
                        <a:pt x="2106" y="563"/>
                      </a:lnTo>
                      <a:lnTo>
                        <a:pt x="2083" y="560"/>
                      </a:lnTo>
                      <a:lnTo>
                        <a:pt x="2058" y="555"/>
                      </a:lnTo>
                      <a:lnTo>
                        <a:pt x="2034" y="549"/>
                      </a:lnTo>
                      <a:lnTo>
                        <a:pt x="2009" y="541"/>
                      </a:lnTo>
                      <a:lnTo>
                        <a:pt x="1983" y="532"/>
                      </a:lnTo>
                      <a:lnTo>
                        <a:pt x="1956" y="521"/>
                      </a:lnTo>
                      <a:lnTo>
                        <a:pt x="1926" y="509"/>
                      </a:lnTo>
                      <a:lnTo>
                        <a:pt x="1894" y="494"/>
                      </a:lnTo>
                      <a:lnTo>
                        <a:pt x="1859" y="478"/>
                      </a:lnTo>
                      <a:lnTo>
                        <a:pt x="1821" y="459"/>
                      </a:lnTo>
                      <a:lnTo>
                        <a:pt x="1778" y="439"/>
                      </a:lnTo>
                      <a:lnTo>
                        <a:pt x="1732" y="417"/>
                      </a:lnTo>
                      <a:lnTo>
                        <a:pt x="1681" y="391"/>
                      </a:lnTo>
                      <a:lnTo>
                        <a:pt x="1626" y="364"/>
                      </a:lnTo>
                      <a:lnTo>
                        <a:pt x="1565" y="334"/>
                      </a:lnTo>
                      <a:lnTo>
                        <a:pt x="1498" y="300"/>
                      </a:lnTo>
                      <a:lnTo>
                        <a:pt x="1444" y="278"/>
                      </a:lnTo>
                      <a:lnTo>
                        <a:pt x="1388" y="260"/>
                      </a:lnTo>
                      <a:lnTo>
                        <a:pt x="1331" y="248"/>
                      </a:lnTo>
                      <a:lnTo>
                        <a:pt x="1274" y="242"/>
                      </a:lnTo>
                      <a:lnTo>
                        <a:pt x="1217" y="241"/>
                      </a:lnTo>
                      <a:close/>
                      <a:moveTo>
                        <a:pt x="1243" y="0"/>
                      </a:moveTo>
                      <a:lnTo>
                        <a:pt x="1318" y="3"/>
                      </a:lnTo>
                      <a:lnTo>
                        <a:pt x="1391" y="15"/>
                      </a:lnTo>
                      <a:lnTo>
                        <a:pt x="1464" y="32"/>
                      </a:lnTo>
                      <a:lnTo>
                        <a:pt x="1535" y="56"/>
                      </a:lnTo>
                      <a:lnTo>
                        <a:pt x="1603" y="85"/>
                      </a:lnTo>
                      <a:lnTo>
                        <a:pt x="1668" y="116"/>
                      </a:lnTo>
                      <a:lnTo>
                        <a:pt x="1726" y="145"/>
                      </a:lnTo>
                      <a:lnTo>
                        <a:pt x="1780" y="171"/>
                      </a:lnTo>
                      <a:lnTo>
                        <a:pt x="1827" y="195"/>
                      </a:lnTo>
                      <a:lnTo>
                        <a:pt x="1869" y="216"/>
                      </a:lnTo>
                      <a:lnTo>
                        <a:pt x="1907" y="234"/>
                      </a:lnTo>
                      <a:lnTo>
                        <a:pt x="1941" y="252"/>
                      </a:lnTo>
                      <a:lnTo>
                        <a:pt x="1971" y="265"/>
                      </a:lnTo>
                      <a:lnTo>
                        <a:pt x="1998" y="278"/>
                      </a:lnTo>
                      <a:lnTo>
                        <a:pt x="2022" y="289"/>
                      </a:lnTo>
                      <a:lnTo>
                        <a:pt x="2043" y="298"/>
                      </a:lnTo>
                      <a:lnTo>
                        <a:pt x="2063" y="305"/>
                      </a:lnTo>
                      <a:lnTo>
                        <a:pt x="2079" y="311"/>
                      </a:lnTo>
                      <a:lnTo>
                        <a:pt x="2095" y="316"/>
                      </a:lnTo>
                      <a:lnTo>
                        <a:pt x="2110" y="320"/>
                      </a:lnTo>
                      <a:lnTo>
                        <a:pt x="2125" y="324"/>
                      </a:lnTo>
                      <a:lnTo>
                        <a:pt x="2138" y="325"/>
                      </a:lnTo>
                      <a:lnTo>
                        <a:pt x="2152" y="326"/>
                      </a:lnTo>
                      <a:lnTo>
                        <a:pt x="2167" y="327"/>
                      </a:lnTo>
                      <a:lnTo>
                        <a:pt x="2182" y="327"/>
                      </a:lnTo>
                      <a:lnTo>
                        <a:pt x="2778" y="327"/>
                      </a:lnTo>
                      <a:lnTo>
                        <a:pt x="2830" y="331"/>
                      </a:lnTo>
                      <a:lnTo>
                        <a:pt x="2881" y="342"/>
                      </a:lnTo>
                      <a:lnTo>
                        <a:pt x="2928" y="361"/>
                      </a:lnTo>
                      <a:lnTo>
                        <a:pt x="2972" y="385"/>
                      </a:lnTo>
                      <a:lnTo>
                        <a:pt x="3013" y="414"/>
                      </a:lnTo>
                      <a:lnTo>
                        <a:pt x="3047" y="450"/>
                      </a:lnTo>
                      <a:lnTo>
                        <a:pt x="3078" y="490"/>
                      </a:lnTo>
                      <a:lnTo>
                        <a:pt x="3103" y="534"/>
                      </a:lnTo>
                      <a:lnTo>
                        <a:pt x="3122" y="581"/>
                      </a:lnTo>
                      <a:lnTo>
                        <a:pt x="3475" y="202"/>
                      </a:lnTo>
                      <a:lnTo>
                        <a:pt x="3511" y="167"/>
                      </a:lnTo>
                      <a:lnTo>
                        <a:pt x="3549" y="140"/>
                      </a:lnTo>
                      <a:lnTo>
                        <a:pt x="3590" y="118"/>
                      </a:lnTo>
                      <a:lnTo>
                        <a:pt x="3632" y="101"/>
                      </a:lnTo>
                      <a:lnTo>
                        <a:pt x="3676" y="92"/>
                      </a:lnTo>
                      <a:lnTo>
                        <a:pt x="3719" y="88"/>
                      </a:lnTo>
                      <a:lnTo>
                        <a:pt x="3764" y="88"/>
                      </a:lnTo>
                      <a:lnTo>
                        <a:pt x="3806" y="94"/>
                      </a:lnTo>
                      <a:lnTo>
                        <a:pt x="3848" y="105"/>
                      </a:lnTo>
                      <a:lnTo>
                        <a:pt x="3889" y="121"/>
                      </a:lnTo>
                      <a:lnTo>
                        <a:pt x="3928" y="141"/>
                      </a:lnTo>
                      <a:lnTo>
                        <a:pt x="3964" y="166"/>
                      </a:lnTo>
                      <a:lnTo>
                        <a:pt x="3996" y="196"/>
                      </a:lnTo>
                      <a:lnTo>
                        <a:pt x="4025" y="228"/>
                      </a:lnTo>
                      <a:lnTo>
                        <a:pt x="4050" y="265"/>
                      </a:lnTo>
                      <a:lnTo>
                        <a:pt x="4071" y="306"/>
                      </a:lnTo>
                      <a:lnTo>
                        <a:pt x="4086" y="350"/>
                      </a:lnTo>
                      <a:lnTo>
                        <a:pt x="4094" y="397"/>
                      </a:lnTo>
                      <a:lnTo>
                        <a:pt x="4098" y="448"/>
                      </a:lnTo>
                      <a:lnTo>
                        <a:pt x="4096" y="494"/>
                      </a:lnTo>
                      <a:lnTo>
                        <a:pt x="4087" y="540"/>
                      </a:lnTo>
                      <a:lnTo>
                        <a:pt x="4072" y="583"/>
                      </a:lnTo>
                      <a:lnTo>
                        <a:pt x="4052" y="624"/>
                      </a:lnTo>
                      <a:lnTo>
                        <a:pt x="4026" y="663"/>
                      </a:lnTo>
                      <a:lnTo>
                        <a:pt x="4026" y="663"/>
                      </a:lnTo>
                      <a:lnTo>
                        <a:pt x="3450" y="1431"/>
                      </a:lnTo>
                      <a:lnTo>
                        <a:pt x="3404" y="1487"/>
                      </a:lnTo>
                      <a:lnTo>
                        <a:pt x="3355" y="1538"/>
                      </a:lnTo>
                      <a:lnTo>
                        <a:pt x="3301" y="1584"/>
                      </a:lnTo>
                      <a:lnTo>
                        <a:pt x="3245" y="1626"/>
                      </a:lnTo>
                      <a:lnTo>
                        <a:pt x="3184" y="1662"/>
                      </a:lnTo>
                      <a:lnTo>
                        <a:pt x="3121" y="1693"/>
                      </a:lnTo>
                      <a:lnTo>
                        <a:pt x="3056" y="1720"/>
                      </a:lnTo>
                      <a:lnTo>
                        <a:pt x="2988" y="1741"/>
                      </a:lnTo>
                      <a:lnTo>
                        <a:pt x="2920" y="1756"/>
                      </a:lnTo>
                      <a:lnTo>
                        <a:pt x="2849" y="1766"/>
                      </a:lnTo>
                      <a:lnTo>
                        <a:pt x="2778" y="1768"/>
                      </a:lnTo>
                      <a:lnTo>
                        <a:pt x="1524" y="1768"/>
                      </a:lnTo>
                      <a:lnTo>
                        <a:pt x="1396" y="1766"/>
                      </a:lnTo>
                      <a:lnTo>
                        <a:pt x="1267" y="1758"/>
                      </a:lnTo>
                      <a:lnTo>
                        <a:pt x="1139" y="1746"/>
                      </a:lnTo>
                      <a:lnTo>
                        <a:pt x="1011" y="1728"/>
                      </a:lnTo>
                      <a:lnTo>
                        <a:pt x="884" y="1706"/>
                      </a:lnTo>
                      <a:lnTo>
                        <a:pt x="760" y="1679"/>
                      </a:lnTo>
                      <a:lnTo>
                        <a:pt x="638" y="1648"/>
                      </a:lnTo>
                      <a:lnTo>
                        <a:pt x="631" y="1645"/>
                      </a:lnTo>
                      <a:lnTo>
                        <a:pt x="595" y="1680"/>
                      </a:lnTo>
                      <a:lnTo>
                        <a:pt x="555" y="1711"/>
                      </a:lnTo>
                      <a:lnTo>
                        <a:pt x="512" y="1734"/>
                      </a:lnTo>
                      <a:lnTo>
                        <a:pt x="463" y="1753"/>
                      </a:lnTo>
                      <a:lnTo>
                        <a:pt x="414" y="1764"/>
                      </a:lnTo>
                      <a:lnTo>
                        <a:pt x="360" y="1768"/>
                      </a:lnTo>
                      <a:lnTo>
                        <a:pt x="120" y="1768"/>
                      </a:lnTo>
                      <a:lnTo>
                        <a:pt x="93" y="1764"/>
                      </a:lnTo>
                      <a:lnTo>
                        <a:pt x="67" y="1756"/>
                      </a:lnTo>
                      <a:lnTo>
                        <a:pt x="45" y="1742"/>
                      </a:lnTo>
                      <a:lnTo>
                        <a:pt x="26" y="1723"/>
                      </a:lnTo>
                      <a:lnTo>
                        <a:pt x="12" y="1701"/>
                      </a:lnTo>
                      <a:lnTo>
                        <a:pt x="4" y="1675"/>
                      </a:lnTo>
                      <a:lnTo>
                        <a:pt x="0" y="1648"/>
                      </a:lnTo>
                      <a:lnTo>
                        <a:pt x="0" y="207"/>
                      </a:lnTo>
                      <a:lnTo>
                        <a:pt x="4" y="180"/>
                      </a:lnTo>
                      <a:lnTo>
                        <a:pt x="12" y="155"/>
                      </a:lnTo>
                      <a:lnTo>
                        <a:pt x="26" y="133"/>
                      </a:lnTo>
                      <a:lnTo>
                        <a:pt x="45" y="114"/>
                      </a:lnTo>
                      <a:lnTo>
                        <a:pt x="67" y="99"/>
                      </a:lnTo>
                      <a:lnTo>
                        <a:pt x="93" y="90"/>
                      </a:lnTo>
                      <a:lnTo>
                        <a:pt x="120" y="87"/>
                      </a:lnTo>
                      <a:lnTo>
                        <a:pt x="360" y="87"/>
                      </a:lnTo>
                      <a:lnTo>
                        <a:pt x="410" y="90"/>
                      </a:lnTo>
                      <a:lnTo>
                        <a:pt x="457" y="100"/>
                      </a:lnTo>
                      <a:lnTo>
                        <a:pt x="502" y="116"/>
                      </a:lnTo>
                      <a:lnTo>
                        <a:pt x="544" y="137"/>
                      </a:lnTo>
                      <a:lnTo>
                        <a:pt x="582" y="164"/>
                      </a:lnTo>
                      <a:lnTo>
                        <a:pt x="617" y="196"/>
                      </a:lnTo>
                      <a:lnTo>
                        <a:pt x="648" y="231"/>
                      </a:lnTo>
                      <a:lnTo>
                        <a:pt x="702" y="183"/>
                      </a:lnTo>
                      <a:lnTo>
                        <a:pt x="760" y="141"/>
                      </a:lnTo>
                      <a:lnTo>
                        <a:pt x="821" y="104"/>
                      </a:lnTo>
                      <a:lnTo>
                        <a:pt x="884" y="73"/>
                      </a:lnTo>
                      <a:lnTo>
                        <a:pt x="951" y="47"/>
                      </a:lnTo>
                      <a:lnTo>
                        <a:pt x="1021" y="26"/>
                      </a:lnTo>
                      <a:lnTo>
                        <a:pt x="1092" y="11"/>
                      </a:lnTo>
                      <a:lnTo>
                        <a:pt x="1167" y="2"/>
                      </a:lnTo>
                      <a:lnTo>
                        <a:pt x="12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grpSp>
        <p:nvGrpSpPr>
          <p:cNvPr id="35" name="Group 34">
            <a:extLst>
              <a:ext uri="{FF2B5EF4-FFF2-40B4-BE49-F238E27FC236}">
                <a16:creationId xmlns:a16="http://schemas.microsoft.com/office/drawing/2014/main" id="{25D6FAC8-06AF-4CBC-958E-6A49049DCECA}"/>
              </a:ext>
            </a:extLst>
          </p:cNvPr>
          <p:cNvGrpSpPr/>
          <p:nvPr/>
        </p:nvGrpSpPr>
        <p:grpSpPr>
          <a:xfrm>
            <a:off x="3883919" y="1449026"/>
            <a:ext cx="2023311" cy="1038450"/>
            <a:chOff x="4030422" y="1036247"/>
            <a:chExt cx="2023311" cy="1038450"/>
          </a:xfrm>
        </p:grpSpPr>
        <p:sp>
          <p:nvSpPr>
            <p:cNvPr id="36" name="TextBox 35">
              <a:extLst>
                <a:ext uri="{FF2B5EF4-FFF2-40B4-BE49-F238E27FC236}">
                  <a16:creationId xmlns:a16="http://schemas.microsoft.com/office/drawing/2014/main" id="{07A02716-687B-447C-A1F5-A1608D3B1E6D}"/>
                </a:ext>
              </a:extLst>
            </p:cNvPr>
            <p:cNvSpPr txBox="1"/>
            <p:nvPr/>
          </p:nvSpPr>
          <p:spPr>
            <a:xfrm>
              <a:off x="4030422" y="1766920"/>
              <a:ext cx="2023311" cy="307777"/>
            </a:xfrm>
            <a:prstGeom prst="rect">
              <a:avLst/>
            </a:prstGeom>
            <a:noFill/>
          </p:spPr>
          <p:txBody>
            <a:bodyPr wrap="square" rtlCol="0" anchor="ctr">
              <a:spAutoFit/>
            </a:bodyPr>
            <a:lstStyle/>
            <a:p>
              <a:r>
                <a:rPr lang="en-US" sz="1400" b="1" dirty="0">
                  <a:solidFill>
                    <a:schemeClr val="bg2"/>
                  </a:solidFill>
                  <a:latin typeface="Arial" panose="020B0604020202020204" pitchFamily="34" charset="0"/>
                  <a:cs typeface="Arial" panose="020B0604020202020204" pitchFamily="34" charset="0"/>
                </a:rPr>
                <a:t>Notification Formality</a:t>
              </a:r>
            </a:p>
          </p:txBody>
        </p:sp>
        <p:sp>
          <p:nvSpPr>
            <p:cNvPr id="39" name="Oval 38">
              <a:extLst>
                <a:ext uri="{FF2B5EF4-FFF2-40B4-BE49-F238E27FC236}">
                  <a16:creationId xmlns:a16="http://schemas.microsoft.com/office/drawing/2014/main" id="{F26EAE1A-4000-4EDB-A42C-FD09DEF3AE33}"/>
                </a:ext>
              </a:extLst>
            </p:cNvPr>
            <p:cNvSpPr/>
            <p:nvPr/>
          </p:nvSpPr>
          <p:spPr>
            <a:xfrm>
              <a:off x="4650864" y="1036247"/>
              <a:ext cx="637844" cy="637844"/>
            </a:xfrm>
            <a:prstGeom prst="ellipse">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grpSp>
        <p:nvGrpSpPr>
          <p:cNvPr id="49" name="Group 48">
            <a:extLst>
              <a:ext uri="{FF2B5EF4-FFF2-40B4-BE49-F238E27FC236}">
                <a16:creationId xmlns:a16="http://schemas.microsoft.com/office/drawing/2014/main" id="{A638CA66-4A6C-465B-87FE-A77D7D8B4F6A}"/>
              </a:ext>
            </a:extLst>
          </p:cNvPr>
          <p:cNvGrpSpPr/>
          <p:nvPr/>
        </p:nvGrpSpPr>
        <p:grpSpPr>
          <a:xfrm>
            <a:off x="7183705" y="1441541"/>
            <a:ext cx="637844" cy="637844"/>
            <a:chOff x="9786967" y="1052690"/>
            <a:chExt cx="527144" cy="527144"/>
          </a:xfrm>
        </p:grpSpPr>
        <p:sp>
          <p:nvSpPr>
            <p:cNvPr id="52" name="Oval 51">
              <a:extLst>
                <a:ext uri="{FF2B5EF4-FFF2-40B4-BE49-F238E27FC236}">
                  <a16:creationId xmlns:a16="http://schemas.microsoft.com/office/drawing/2014/main" id="{D7BDBFF9-82CE-4EA8-A1BE-6B8036F6F4B4}"/>
                </a:ext>
              </a:extLst>
            </p:cNvPr>
            <p:cNvSpPr/>
            <p:nvPr/>
          </p:nvSpPr>
          <p:spPr>
            <a:xfrm>
              <a:off x="9786967" y="1052690"/>
              <a:ext cx="527144" cy="527144"/>
            </a:xfrm>
            <a:prstGeom prst="ellipse">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eform 23">
              <a:extLst>
                <a:ext uri="{FF2B5EF4-FFF2-40B4-BE49-F238E27FC236}">
                  <a16:creationId xmlns:a16="http://schemas.microsoft.com/office/drawing/2014/main" id="{9FCCB690-0369-4CD3-AA90-EE95B3692DC0}"/>
                </a:ext>
              </a:extLst>
            </p:cNvPr>
            <p:cNvSpPr>
              <a:spLocks noEditPoints="1"/>
            </p:cNvSpPr>
            <p:nvPr/>
          </p:nvSpPr>
          <p:spPr bwMode="auto">
            <a:xfrm>
              <a:off x="9883196" y="1118388"/>
              <a:ext cx="334682" cy="334682"/>
            </a:xfrm>
            <a:custGeom>
              <a:avLst/>
              <a:gdLst>
                <a:gd name="T0" fmla="*/ 2194 w 4098"/>
                <a:gd name="T1" fmla="*/ 1875 h 4098"/>
                <a:gd name="T2" fmla="*/ 2553 w 4098"/>
                <a:gd name="T3" fmla="*/ 1752 h 4098"/>
                <a:gd name="T4" fmla="*/ 1607 w 4098"/>
                <a:gd name="T5" fmla="*/ 1510 h 4098"/>
                <a:gd name="T6" fmla="*/ 1704 w 4098"/>
                <a:gd name="T7" fmla="*/ 2544 h 4098"/>
                <a:gd name="T8" fmla="*/ 1505 w 4098"/>
                <a:gd name="T9" fmla="*/ 1606 h 4098"/>
                <a:gd name="T10" fmla="*/ 1224 w 4098"/>
                <a:gd name="T11" fmla="*/ 2397 h 4098"/>
                <a:gd name="T12" fmla="*/ 794 w 4098"/>
                <a:gd name="T13" fmla="*/ 2877 h 4098"/>
                <a:gd name="T14" fmla="*/ 133 w 4098"/>
                <a:gd name="T15" fmla="*/ 2470 h 4098"/>
                <a:gd name="T16" fmla="*/ 448 w 4098"/>
                <a:gd name="T17" fmla="*/ 3033 h 4098"/>
                <a:gd name="T18" fmla="*/ 755 w 4098"/>
                <a:gd name="T19" fmla="*/ 3020 h 4098"/>
                <a:gd name="T20" fmla="*/ 1260 w 4098"/>
                <a:gd name="T21" fmla="*/ 3925 h 4098"/>
                <a:gd name="T22" fmla="*/ 2660 w 4098"/>
                <a:gd name="T23" fmla="*/ 3720 h 4098"/>
                <a:gd name="T24" fmla="*/ 1942 w 4098"/>
                <a:gd name="T25" fmla="*/ 3540 h 4098"/>
                <a:gd name="T26" fmla="*/ 2595 w 4098"/>
                <a:gd name="T27" fmla="*/ 3239 h 4098"/>
                <a:gd name="T28" fmla="*/ 2595 w 4098"/>
                <a:gd name="T29" fmla="*/ 3102 h 4098"/>
                <a:gd name="T30" fmla="*/ 1942 w 4098"/>
                <a:gd name="T31" fmla="*/ 2800 h 4098"/>
                <a:gd name="T32" fmla="*/ 2660 w 4098"/>
                <a:gd name="T33" fmla="*/ 2621 h 4098"/>
                <a:gd name="T34" fmla="*/ 1901 w 4098"/>
                <a:gd name="T35" fmla="*/ 2328 h 4098"/>
                <a:gd name="T36" fmla="*/ 2789 w 4098"/>
                <a:gd name="T37" fmla="*/ 2398 h 4098"/>
                <a:gd name="T38" fmla="*/ 2804 w 4098"/>
                <a:gd name="T39" fmla="*/ 2998 h 4098"/>
                <a:gd name="T40" fmla="*/ 2775 w 4098"/>
                <a:gd name="T41" fmla="*/ 3542 h 4098"/>
                <a:gd name="T42" fmla="*/ 2686 w 4098"/>
                <a:gd name="T43" fmla="*/ 4066 h 4098"/>
                <a:gd name="T44" fmla="*/ 1015 w 4098"/>
                <a:gd name="T45" fmla="*/ 3928 h 4098"/>
                <a:gd name="T46" fmla="*/ 92 w 4098"/>
                <a:gd name="T47" fmla="*/ 4086 h 4098"/>
                <a:gd name="T48" fmla="*/ 120 w 4098"/>
                <a:gd name="T49" fmla="*/ 2332 h 4098"/>
                <a:gd name="T50" fmla="*/ 1027 w 4098"/>
                <a:gd name="T51" fmla="*/ 2489 h 4098"/>
                <a:gd name="T52" fmla="*/ 1264 w 4098"/>
                <a:gd name="T53" fmla="*/ 1551 h 4098"/>
                <a:gd name="T54" fmla="*/ 2650 w 4098"/>
                <a:gd name="T55" fmla="*/ 1603 h 4098"/>
                <a:gd name="T56" fmla="*/ 2351 w 4098"/>
                <a:gd name="T57" fmla="*/ 2079 h 4098"/>
                <a:gd name="T58" fmla="*/ 2048 w 4098"/>
                <a:gd name="T59" fmla="*/ 1612 h 4098"/>
                <a:gd name="T60" fmla="*/ 3098 w 4098"/>
                <a:gd name="T61" fmla="*/ 1291 h 4098"/>
                <a:gd name="T62" fmla="*/ 3076 w 4098"/>
                <a:gd name="T63" fmla="*/ 2238 h 4098"/>
                <a:gd name="T64" fmla="*/ 2936 w 4098"/>
                <a:gd name="T65" fmla="*/ 2210 h 4098"/>
                <a:gd name="T66" fmla="*/ 2956 w 4098"/>
                <a:gd name="T67" fmla="*/ 1310 h 4098"/>
                <a:gd name="T68" fmla="*/ 2744 w 4098"/>
                <a:gd name="T69" fmla="*/ 965 h 4098"/>
                <a:gd name="T70" fmla="*/ 2800 w 4098"/>
                <a:gd name="T71" fmla="*/ 1151 h 4098"/>
                <a:gd name="T72" fmla="*/ 1921 w 4098"/>
                <a:gd name="T73" fmla="*/ 1136 h 4098"/>
                <a:gd name="T74" fmla="*/ 1577 w 4098"/>
                <a:gd name="T75" fmla="*/ 1377 h 4098"/>
                <a:gd name="T76" fmla="*/ 2215 w 4098"/>
                <a:gd name="T77" fmla="*/ 883 h 4098"/>
                <a:gd name="T78" fmla="*/ 2809 w 4098"/>
                <a:gd name="T79" fmla="*/ 543 h 4098"/>
                <a:gd name="T80" fmla="*/ 3703 w 4098"/>
                <a:gd name="T81" fmla="*/ 647 h 4098"/>
                <a:gd name="T82" fmla="*/ 4023 w 4098"/>
                <a:gd name="T83" fmla="*/ 1479 h 4098"/>
                <a:gd name="T84" fmla="*/ 3923 w 4098"/>
                <a:gd name="T85" fmla="*/ 2064 h 4098"/>
                <a:gd name="T86" fmla="*/ 3513 w 4098"/>
                <a:gd name="T87" fmla="*/ 3056 h 4098"/>
                <a:gd name="T88" fmla="*/ 2886 w 4098"/>
                <a:gd name="T89" fmla="*/ 2810 h 4098"/>
                <a:gd name="T90" fmla="*/ 3405 w 4098"/>
                <a:gd name="T91" fmla="*/ 2977 h 4098"/>
                <a:gd name="T92" fmla="*/ 3393 w 4098"/>
                <a:gd name="T93" fmla="*/ 2254 h 4098"/>
                <a:gd name="T94" fmla="*/ 3969 w 4098"/>
                <a:gd name="T95" fmla="*/ 1643 h 4098"/>
                <a:gd name="T96" fmla="*/ 3362 w 4098"/>
                <a:gd name="T97" fmla="*/ 1180 h 4098"/>
                <a:gd name="T98" fmla="*/ 3386 w 4098"/>
                <a:gd name="T99" fmla="*/ 508 h 4098"/>
                <a:gd name="T100" fmla="*/ 2648 w 4098"/>
                <a:gd name="T101" fmla="*/ 625 h 4098"/>
                <a:gd name="T102" fmla="*/ 2168 w 4098"/>
                <a:gd name="T103" fmla="*/ 178 h 4098"/>
                <a:gd name="T104" fmla="*/ 1716 w 4098"/>
                <a:gd name="T105" fmla="*/ 734 h 4098"/>
                <a:gd name="T106" fmla="*/ 1123 w 4098"/>
                <a:gd name="T107" fmla="*/ 789 h 4098"/>
                <a:gd name="T108" fmla="*/ 805 w 4098"/>
                <a:gd name="T109" fmla="*/ 1556 h 4098"/>
                <a:gd name="T110" fmla="*/ 1062 w 4098"/>
                <a:gd name="T111" fmla="*/ 2002 h 4098"/>
                <a:gd name="T112" fmla="*/ 632 w 4098"/>
                <a:gd name="T113" fmla="*/ 1958 h 4098"/>
                <a:gd name="T114" fmla="*/ 1147 w 4098"/>
                <a:gd name="T115" fmla="*/ 1289 h 4098"/>
                <a:gd name="T116" fmla="*/ 1251 w 4098"/>
                <a:gd name="T117" fmla="*/ 395 h 4098"/>
                <a:gd name="T118" fmla="*/ 2083 w 4098"/>
                <a:gd name="T119" fmla="*/ 75 h 4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98" h="4098">
                  <a:moveTo>
                    <a:pt x="2356" y="1545"/>
                  </a:moveTo>
                  <a:lnTo>
                    <a:pt x="2320" y="1547"/>
                  </a:lnTo>
                  <a:lnTo>
                    <a:pt x="2284" y="1556"/>
                  </a:lnTo>
                  <a:lnTo>
                    <a:pt x="2251" y="1570"/>
                  </a:lnTo>
                  <a:lnTo>
                    <a:pt x="2223" y="1590"/>
                  </a:lnTo>
                  <a:lnTo>
                    <a:pt x="2198" y="1614"/>
                  </a:lnTo>
                  <a:lnTo>
                    <a:pt x="2178" y="1642"/>
                  </a:lnTo>
                  <a:lnTo>
                    <a:pt x="2162" y="1673"/>
                  </a:lnTo>
                  <a:lnTo>
                    <a:pt x="2152" y="1706"/>
                  </a:lnTo>
                  <a:lnTo>
                    <a:pt x="2148" y="1742"/>
                  </a:lnTo>
                  <a:lnTo>
                    <a:pt x="2151" y="1778"/>
                  </a:lnTo>
                  <a:lnTo>
                    <a:pt x="2160" y="1814"/>
                  </a:lnTo>
                  <a:lnTo>
                    <a:pt x="2174" y="1847"/>
                  </a:lnTo>
                  <a:lnTo>
                    <a:pt x="2194" y="1875"/>
                  </a:lnTo>
                  <a:lnTo>
                    <a:pt x="2218" y="1900"/>
                  </a:lnTo>
                  <a:lnTo>
                    <a:pt x="2246" y="1920"/>
                  </a:lnTo>
                  <a:lnTo>
                    <a:pt x="2277" y="1936"/>
                  </a:lnTo>
                  <a:lnTo>
                    <a:pt x="2311" y="1946"/>
                  </a:lnTo>
                  <a:lnTo>
                    <a:pt x="2346" y="1950"/>
                  </a:lnTo>
                  <a:lnTo>
                    <a:pt x="2382" y="1947"/>
                  </a:lnTo>
                  <a:lnTo>
                    <a:pt x="2418" y="1938"/>
                  </a:lnTo>
                  <a:lnTo>
                    <a:pt x="2450" y="1924"/>
                  </a:lnTo>
                  <a:lnTo>
                    <a:pt x="2479" y="1904"/>
                  </a:lnTo>
                  <a:lnTo>
                    <a:pt x="2504" y="1880"/>
                  </a:lnTo>
                  <a:lnTo>
                    <a:pt x="2525" y="1852"/>
                  </a:lnTo>
                  <a:lnTo>
                    <a:pt x="2540" y="1821"/>
                  </a:lnTo>
                  <a:lnTo>
                    <a:pt x="2549" y="1787"/>
                  </a:lnTo>
                  <a:lnTo>
                    <a:pt x="2553" y="1752"/>
                  </a:lnTo>
                  <a:lnTo>
                    <a:pt x="2551" y="1716"/>
                  </a:lnTo>
                  <a:lnTo>
                    <a:pt x="2542" y="1680"/>
                  </a:lnTo>
                  <a:lnTo>
                    <a:pt x="2528" y="1648"/>
                  </a:lnTo>
                  <a:lnTo>
                    <a:pt x="2508" y="1619"/>
                  </a:lnTo>
                  <a:lnTo>
                    <a:pt x="2484" y="1594"/>
                  </a:lnTo>
                  <a:lnTo>
                    <a:pt x="2456" y="1573"/>
                  </a:lnTo>
                  <a:lnTo>
                    <a:pt x="2425" y="1558"/>
                  </a:lnTo>
                  <a:lnTo>
                    <a:pt x="2392" y="1549"/>
                  </a:lnTo>
                  <a:lnTo>
                    <a:pt x="2356" y="1545"/>
                  </a:lnTo>
                  <a:close/>
                  <a:moveTo>
                    <a:pt x="1445" y="1467"/>
                  </a:moveTo>
                  <a:lnTo>
                    <a:pt x="1488" y="1469"/>
                  </a:lnTo>
                  <a:lnTo>
                    <a:pt x="1529" y="1478"/>
                  </a:lnTo>
                  <a:lnTo>
                    <a:pt x="1568" y="1491"/>
                  </a:lnTo>
                  <a:lnTo>
                    <a:pt x="1607" y="1510"/>
                  </a:lnTo>
                  <a:lnTo>
                    <a:pt x="1642" y="1534"/>
                  </a:lnTo>
                  <a:lnTo>
                    <a:pt x="1674" y="1561"/>
                  </a:lnTo>
                  <a:lnTo>
                    <a:pt x="1703" y="1593"/>
                  </a:lnTo>
                  <a:lnTo>
                    <a:pt x="1726" y="1629"/>
                  </a:lnTo>
                  <a:lnTo>
                    <a:pt x="1745" y="1667"/>
                  </a:lnTo>
                  <a:lnTo>
                    <a:pt x="1757" y="1706"/>
                  </a:lnTo>
                  <a:lnTo>
                    <a:pt x="1766" y="1747"/>
                  </a:lnTo>
                  <a:lnTo>
                    <a:pt x="1768" y="1791"/>
                  </a:lnTo>
                  <a:lnTo>
                    <a:pt x="1768" y="2480"/>
                  </a:lnTo>
                  <a:lnTo>
                    <a:pt x="1766" y="2501"/>
                  </a:lnTo>
                  <a:lnTo>
                    <a:pt x="1756" y="2518"/>
                  </a:lnTo>
                  <a:lnTo>
                    <a:pt x="1742" y="2532"/>
                  </a:lnTo>
                  <a:lnTo>
                    <a:pt x="1725" y="2542"/>
                  </a:lnTo>
                  <a:lnTo>
                    <a:pt x="1704" y="2544"/>
                  </a:lnTo>
                  <a:lnTo>
                    <a:pt x="1684" y="2542"/>
                  </a:lnTo>
                  <a:lnTo>
                    <a:pt x="1665" y="2532"/>
                  </a:lnTo>
                  <a:lnTo>
                    <a:pt x="1652" y="2518"/>
                  </a:lnTo>
                  <a:lnTo>
                    <a:pt x="1643" y="2501"/>
                  </a:lnTo>
                  <a:lnTo>
                    <a:pt x="1639" y="2480"/>
                  </a:lnTo>
                  <a:lnTo>
                    <a:pt x="1639" y="1791"/>
                  </a:lnTo>
                  <a:lnTo>
                    <a:pt x="1637" y="1760"/>
                  </a:lnTo>
                  <a:lnTo>
                    <a:pt x="1629" y="1730"/>
                  </a:lnTo>
                  <a:lnTo>
                    <a:pt x="1618" y="1703"/>
                  </a:lnTo>
                  <a:lnTo>
                    <a:pt x="1602" y="1676"/>
                  </a:lnTo>
                  <a:lnTo>
                    <a:pt x="1582" y="1653"/>
                  </a:lnTo>
                  <a:lnTo>
                    <a:pt x="1558" y="1633"/>
                  </a:lnTo>
                  <a:lnTo>
                    <a:pt x="1534" y="1617"/>
                  </a:lnTo>
                  <a:lnTo>
                    <a:pt x="1505" y="1606"/>
                  </a:lnTo>
                  <a:lnTo>
                    <a:pt x="1475" y="1598"/>
                  </a:lnTo>
                  <a:lnTo>
                    <a:pt x="1445" y="1596"/>
                  </a:lnTo>
                  <a:lnTo>
                    <a:pt x="1417" y="1599"/>
                  </a:lnTo>
                  <a:lnTo>
                    <a:pt x="1391" y="1611"/>
                  </a:lnTo>
                  <a:lnTo>
                    <a:pt x="1368" y="1628"/>
                  </a:lnTo>
                  <a:lnTo>
                    <a:pt x="1352" y="1649"/>
                  </a:lnTo>
                  <a:lnTo>
                    <a:pt x="1341" y="1675"/>
                  </a:lnTo>
                  <a:lnTo>
                    <a:pt x="1337" y="1704"/>
                  </a:lnTo>
                  <a:lnTo>
                    <a:pt x="1334" y="1822"/>
                  </a:lnTo>
                  <a:lnTo>
                    <a:pt x="1325" y="1938"/>
                  </a:lnTo>
                  <a:lnTo>
                    <a:pt x="1309" y="2055"/>
                  </a:lnTo>
                  <a:lnTo>
                    <a:pt x="1287" y="2171"/>
                  </a:lnTo>
                  <a:lnTo>
                    <a:pt x="1259" y="2284"/>
                  </a:lnTo>
                  <a:lnTo>
                    <a:pt x="1224" y="2397"/>
                  </a:lnTo>
                  <a:lnTo>
                    <a:pt x="1201" y="2469"/>
                  </a:lnTo>
                  <a:lnTo>
                    <a:pt x="1186" y="2504"/>
                  </a:lnTo>
                  <a:lnTo>
                    <a:pt x="1166" y="2536"/>
                  </a:lnTo>
                  <a:lnTo>
                    <a:pt x="1142" y="2563"/>
                  </a:lnTo>
                  <a:lnTo>
                    <a:pt x="1114" y="2587"/>
                  </a:lnTo>
                  <a:lnTo>
                    <a:pt x="1083" y="2605"/>
                  </a:lnTo>
                  <a:lnTo>
                    <a:pt x="1049" y="2620"/>
                  </a:lnTo>
                  <a:lnTo>
                    <a:pt x="1013" y="2629"/>
                  </a:lnTo>
                  <a:lnTo>
                    <a:pt x="976" y="2631"/>
                  </a:lnTo>
                  <a:lnTo>
                    <a:pt x="820" y="2631"/>
                  </a:lnTo>
                  <a:lnTo>
                    <a:pt x="820" y="2825"/>
                  </a:lnTo>
                  <a:lnTo>
                    <a:pt x="816" y="2846"/>
                  </a:lnTo>
                  <a:lnTo>
                    <a:pt x="807" y="2864"/>
                  </a:lnTo>
                  <a:lnTo>
                    <a:pt x="794" y="2877"/>
                  </a:lnTo>
                  <a:lnTo>
                    <a:pt x="775" y="2887"/>
                  </a:lnTo>
                  <a:lnTo>
                    <a:pt x="755" y="2890"/>
                  </a:lnTo>
                  <a:lnTo>
                    <a:pt x="734" y="2887"/>
                  </a:lnTo>
                  <a:lnTo>
                    <a:pt x="717" y="2877"/>
                  </a:lnTo>
                  <a:lnTo>
                    <a:pt x="703" y="2864"/>
                  </a:lnTo>
                  <a:lnTo>
                    <a:pt x="693" y="2846"/>
                  </a:lnTo>
                  <a:lnTo>
                    <a:pt x="690" y="2825"/>
                  </a:lnTo>
                  <a:lnTo>
                    <a:pt x="690" y="2480"/>
                  </a:lnTo>
                  <a:lnTo>
                    <a:pt x="687" y="2470"/>
                  </a:lnTo>
                  <a:lnTo>
                    <a:pt x="679" y="2461"/>
                  </a:lnTo>
                  <a:lnTo>
                    <a:pt x="668" y="2459"/>
                  </a:lnTo>
                  <a:lnTo>
                    <a:pt x="152" y="2459"/>
                  </a:lnTo>
                  <a:lnTo>
                    <a:pt x="140" y="2461"/>
                  </a:lnTo>
                  <a:lnTo>
                    <a:pt x="133" y="2470"/>
                  </a:lnTo>
                  <a:lnTo>
                    <a:pt x="129" y="2480"/>
                  </a:lnTo>
                  <a:lnTo>
                    <a:pt x="129" y="3946"/>
                  </a:lnTo>
                  <a:lnTo>
                    <a:pt x="133" y="3958"/>
                  </a:lnTo>
                  <a:lnTo>
                    <a:pt x="140" y="3965"/>
                  </a:lnTo>
                  <a:lnTo>
                    <a:pt x="152" y="3969"/>
                  </a:lnTo>
                  <a:lnTo>
                    <a:pt x="345" y="3969"/>
                  </a:lnTo>
                  <a:lnTo>
                    <a:pt x="345" y="3085"/>
                  </a:lnTo>
                  <a:lnTo>
                    <a:pt x="349" y="3064"/>
                  </a:lnTo>
                  <a:lnTo>
                    <a:pt x="358" y="3046"/>
                  </a:lnTo>
                  <a:lnTo>
                    <a:pt x="371" y="3033"/>
                  </a:lnTo>
                  <a:lnTo>
                    <a:pt x="390" y="3023"/>
                  </a:lnTo>
                  <a:lnTo>
                    <a:pt x="410" y="3020"/>
                  </a:lnTo>
                  <a:lnTo>
                    <a:pt x="430" y="3023"/>
                  </a:lnTo>
                  <a:lnTo>
                    <a:pt x="448" y="3033"/>
                  </a:lnTo>
                  <a:lnTo>
                    <a:pt x="462" y="3046"/>
                  </a:lnTo>
                  <a:lnTo>
                    <a:pt x="471" y="3064"/>
                  </a:lnTo>
                  <a:lnTo>
                    <a:pt x="474" y="3085"/>
                  </a:lnTo>
                  <a:lnTo>
                    <a:pt x="474" y="3969"/>
                  </a:lnTo>
                  <a:lnTo>
                    <a:pt x="668" y="3969"/>
                  </a:lnTo>
                  <a:lnTo>
                    <a:pt x="679" y="3965"/>
                  </a:lnTo>
                  <a:lnTo>
                    <a:pt x="687" y="3958"/>
                  </a:lnTo>
                  <a:lnTo>
                    <a:pt x="690" y="3946"/>
                  </a:lnTo>
                  <a:lnTo>
                    <a:pt x="690" y="3085"/>
                  </a:lnTo>
                  <a:lnTo>
                    <a:pt x="693" y="3064"/>
                  </a:lnTo>
                  <a:lnTo>
                    <a:pt x="703" y="3046"/>
                  </a:lnTo>
                  <a:lnTo>
                    <a:pt x="717" y="3033"/>
                  </a:lnTo>
                  <a:lnTo>
                    <a:pt x="734" y="3023"/>
                  </a:lnTo>
                  <a:lnTo>
                    <a:pt x="755" y="3020"/>
                  </a:lnTo>
                  <a:lnTo>
                    <a:pt x="775" y="3023"/>
                  </a:lnTo>
                  <a:lnTo>
                    <a:pt x="794" y="3033"/>
                  </a:lnTo>
                  <a:lnTo>
                    <a:pt x="807" y="3046"/>
                  </a:lnTo>
                  <a:lnTo>
                    <a:pt x="816" y="3064"/>
                  </a:lnTo>
                  <a:lnTo>
                    <a:pt x="820" y="3085"/>
                  </a:lnTo>
                  <a:lnTo>
                    <a:pt x="820" y="3796"/>
                  </a:lnTo>
                  <a:lnTo>
                    <a:pt x="979" y="3796"/>
                  </a:lnTo>
                  <a:lnTo>
                    <a:pt x="1026" y="3799"/>
                  </a:lnTo>
                  <a:lnTo>
                    <a:pt x="1072" y="3809"/>
                  </a:lnTo>
                  <a:lnTo>
                    <a:pt x="1115" y="3824"/>
                  </a:lnTo>
                  <a:lnTo>
                    <a:pt x="1157" y="3843"/>
                  </a:lnTo>
                  <a:lnTo>
                    <a:pt x="1196" y="3871"/>
                  </a:lnTo>
                  <a:lnTo>
                    <a:pt x="1232" y="3902"/>
                  </a:lnTo>
                  <a:lnTo>
                    <a:pt x="1260" y="3925"/>
                  </a:lnTo>
                  <a:lnTo>
                    <a:pt x="1290" y="3944"/>
                  </a:lnTo>
                  <a:lnTo>
                    <a:pt x="1324" y="3958"/>
                  </a:lnTo>
                  <a:lnTo>
                    <a:pt x="1359" y="3966"/>
                  </a:lnTo>
                  <a:lnTo>
                    <a:pt x="1395" y="3969"/>
                  </a:lnTo>
                  <a:lnTo>
                    <a:pt x="2567" y="3969"/>
                  </a:lnTo>
                  <a:lnTo>
                    <a:pt x="2595" y="3965"/>
                  </a:lnTo>
                  <a:lnTo>
                    <a:pt x="2621" y="3954"/>
                  </a:lnTo>
                  <a:lnTo>
                    <a:pt x="2643" y="3937"/>
                  </a:lnTo>
                  <a:lnTo>
                    <a:pt x="2660" y="3915"/>
                  </a:lnTo>
                  <a:lnTo>
                    <a:pt x="2671" y="3889"/>
                  </a:lnTo>
                  <a:lnTo>
                    <a:pt x="2675" y="3861"/>
                  </a:lnTo>
                  <a:lnTo>
                    <a:pt x="2675" y="3774"/>
                  </a:lnTo>
                  <a:lnTo>
                    <a:pt x="2671" y="3745"/>
                  </a:lnTo>
                  <a:lnTo>
                    <a:pt x="2660" y="3720"/>
                  </a:lnTo>
                  <a:lnTo>
                    <a:pt x="2643" y="3698"/>
                  </a:lnTo>
                  <a:lnTo>
                    <a:pt x="2621" y="3682"/>
                  </a:lnTo>
                  <a:lnTo>
                    <a:pt x="2595" y="3671"/>
                  </a:lnTo>
                  <a:lnTo>
                    <a:pt x="2567" y="3667"/>
                  </a:lnTo>
                  <a:lnTo>
                    <a:pt x="1963" y="3667"/>
                  </a:lnTo>
                  <a:lnTo>
                    <a:pt x="1942" y="3663"/>
                  </a:lnTo>
                  <a:lnTo>
                    <a:pt x="1925" y="3655"/>
                  </a:lnTo>
                  <a:lnTo>
                    <a:pt x="1910" y="3640"/>
                  </a:lnTo>
                  <a:lnTo>
                    <a:pt x="1901" y="3622"/>
                  </a:lnTo>
                  <a:lnTo>
                    <a:pt x="1897" y="3603"/>
                  </a:lnTo>
                  <a:lnTo>
                    <a:pt x="1901" y="3581"/>
                  </a:lnTo>
                  <a:lnTo>
                    <a:pt x="1910" y="3564"/>
                  </a:lnTo>
                  <a:lnTo>
                    <a:pt x="1925" y="3549"/>
                  </a:lnTo>
                  <a:lnTo>
                    <a:pt x="1942" y="3540"/>
                  </a:lnTo>
                  <a:lnTo>
                    <a:pt x="1963" y="3537"/>
                  </a:lnTo>
                  <a:lnTo>
                    <a:pt x="2567" y="3537"/>
                  </a:lnTo>
                  <a:lnTo>
                    <a:pt x="2595" y="3533"/>
                  </a:lnTo>
                  <a:lnTo>
                    <a:pt x="2621" y="3523"/>
                  </a:lnTo>
                  <a:lnTo>
                    <a:pt x="2643" y="3506"/>
                  </a:lnTo>
                  <a:lnTo>
                    <a:pt x="2660" y="3483"/>
                  </a:lnTo>
                  <a:lnTo>
                    <a:pt x="2671" y="3458"/>
                  </a:lnTo>
                  <a:lnTo>
                    <a:pt x="2675" y="3430"/>
                  </a:lnTo>
                  <a:lnTo>
                    <a:pt x="2675" y="3343"/>
                  </a:lnTo>
                  <a:lnTo>
                    <a:pt x="2671" y="3314"/>
                  </a:lnTo>
                  <a:lnTo>
                    <a:pt x="2660" y="3288"/>
                  </a:lnTo>
                  <a:lnTo>
                    <a:pt x="2643" y="3267"/>
                  </a:lnTo>
                  <a:lnTo>
                    <a:pt x="2621" y="3250"/>
                  </a:lnTo>
                  <a:lnTo>
                    <a:pt x="2595" y="3239"/>
                  </a:lnTo>
                  <a:lnTo>
                    <a:pt x="2567" y="3235"/>
                  </a:lnTo>
                  <a:lnTo>
                    <a:pt x="1963" y="3235"/>
                  </a:lnTo>
                  <a:lnTo>
                    <a:pt x="1942" y="3232"/>
                  </a:lnTo>
                  <a:lnTo>
                    <a:pt x="1925" y="3223"/>
                  </a:lnTo>
                  <a:lnTo>
                    <a:pt x="1910" y="3209"/>
                  </a:lnTo>
                  <a:lnTo>
                    <a:pt x="1901" y="3191"/>
                  </a:lnTo>
                  <a:lnTo>
                    <a:pt x="1897" y="3170"/>
                  </a:lnTo>
                  <a:lnTo>
                    <a:pt x="1901" y="3150"/>
                  </a:lnTo>
                  <a:lnTo>
                    <a:pt x="1910" y="3132"/>
                  </a:lnTo>
                  <a:lnTo>
                    <a:pt x="1925" y="3118"/>
                  </a:lnTo>
                  <a:lnTo>
                    <a:pt x="1942" y="3110"/>
                  </a:lnTo>
                  <a:lnTo>
                    <a:pt x="1963" y="3106"/>
                  </a:lnTo>
                  <a:lnTo>
                    <a:pt x="2567" y="3106"/>
                  </a:lnTo>
                  <a:lnTo>
                    <a:pt x="2595" y="3102"/>
                  </a:lnTo>
                  <a:lnTo>
                    <a:pt x="2621" y="3091"/>
                  </a:lnTo>
                  <a:lnTo>
                    <a:pt x="2643" y="3075"/>
                  </a:lnTo>
                  <a:lnTo>
                    <a:pt x="2660" y="3052"/>
                  </a:lnTo>
                  <a:lnTo>
                    <a:pt x="2671" y="3026"/>
                  </a:lnTo>
                  <a:lnTo>
                    <a:pt x="2675" y="2998"/>
                  </a:lnTo>
                  <a:lnTo>
                    <a:pt x="2675" y="2912"/>
                  </a:lnTo>
                  <a:lnTo>
                    <a:pt x="2671" y="2884"/>
                  </a:lnTo>
                  <a:lnTo>
                    <a:pt x="2660" y="2857"/>
                  </a:lnTo>
                  <a:lnTo>
                    <a:pt x="2643" y="2835"/>
                  </a:lnTo>
                  <a:lnTo>
                    <a:pt x="2621" y="2819"/>
                  </a:lnTo>
                  <a:lnTo>
                    <a:pt x="2595" y="2808"/>
                  </a:lnTo>
                  <a:lnTo>
                    <a:pt x="2567" y="2804"/>
                  </a:lnTo>
                  <a:lnTo>
                    <a:pt x="1963" y="2804"/>
                  </a:lnTo>
                  <a:lnTo>
                    <a:pt x="1942" y="2800"/>
                  </a:lnTo>
                  <a:lnTo>
                    <a:pt x="1925" y="2792"/>
                  </a:lnTo>
                  <a:lnTo>
                    <a:pt x="1910" y="2778"/>
                  </a:lnTo>
                  <a:lnTo>
                    <a:pt x="1901" y="2759"/>
                  </a:lnTo>
                  <a:lnTo>
                    <a:pt x="1897" y="2739"/>
                  </a:lnTo>
                  <a:lnTo>
                    <a:pt x="1901" y="2718"/>
                  </a:lnTo>
                  <a:lnTo>
                    <a:pt x="1910" y="2701"/>
                  </a:lnTo>
                  <a:lnTo>
                    <a:pt x="1925" y="2687"/>
                  </a:lnTo>
                  <a:lnTo>
                    <a:pt x="1942" y="2677"/>
                  </a:lnTo>
                  <a:lnTo>
                    <a:pt x="1963" y="2675"/>
                  </a:lnTo>
                  <a:lnTo>
                    <a:pt x="2567" y="2675"/>
                  </a:lnTo>
                  <a:lnTo>
                    <a:pt x="2595" y="2671"/>
                  </a:lnTo>
                  <a:lnTo>
                    <a:pt x="2621" y="2660"/>
                  </a:lnTo>
                  <a:lnTo>
                    <a:pt x="2643" y="2643"/>
                  </a:lnTo>
                  <a:lnTo>
                    <a:pt x="2660" y="2621"/>
                  </a:lnTo>
                  <a:lnTo>
                    <a:pt x="2671" y="2595"/>
                  </a:lnTo>
                  <a:lnTo>
                    <a:pt x="2675" y="2567"/>
                  </a:lnTo>
                  <a:lnTo>
                    <a:pt x="2675" y="2480"/>
                  </a:lnTo>
                  <a:lnTo>
                    <a:pt x="2671" y="2451"/>
                  </a:lnTo>
                  <a:lnTo>
                    <a:pt x="2660" y="2427"/>
                  </a:lnTo>
                  <a:lnTo>
                    <a:pt x="2643" y="2404"/>
                  </a:lnTo>
                  <a:lnTo>
                    <a:pt x="2621" y="2387"/>
                  </a:lnTo>
                  <a:lnTo>
                    <a:pt x="2595" y="2377"/>
                  </a:lnTo>
                  <a:lnTo>
                    <a:pt x="2567" y="2373"/>
                  </a:lnTo>
                  <a:lnTo>
                    <a:pt x="1963" y="2373"/>
                  </a:lnTo>
                  <a:lnTo>
                    <a:pt x="1942" y="2369"/>
                  </a:lnTo>
                  <a:lnTo>
                    <a:pt x="1925" y="2359"/>
                  </a:lnTo>
                  <a:lnTo>
                    <a:pt x="1910" y="2346"/>
                  </a:lnTo>
                  <a:lnTo>
                    <a:pt x="1901" y="2328"/>
                  </a:lnTo>
                  <a:lnTo>
                    <a:pt x="1897" y="2307"/>
                  </a:lnTo>
                  <a:lnTo>
                    <a:pt x="1901" y="2287"/>
                  </a:lnTo>
                  <a:lnTo>
                    <a:pt x="1910" y="2270"/>
                  </a:lnTo>
                  <a:lnTo>
                    <a:pt x="1925" y="2255"/>
                  </a:lnTo>
                  <a:lnTo>
                    <a:pt x="1942" y="2246"/>
                  </a:lnTo>
                  <a:lnTo>
                    <a:pt x="1963" y="2243"/>
                  </a:lnTo>
                  <a:lnTo>
                    <a:pt x="2567" y="2243"/>
                  </a:lnTo>
                  <a:lnTo>
                    <a:pt x="2609" y="2246"/>
                  </a:lnTo>
                  <a:lnTo>
                    <a:pt x="2649" y="2258"/>
                  </a:lnTo>
                  <a:lnTo>
                    <a:pt x="2686" y="2275"/>
                  </a:lnTo>
                  <a:lnTo>
                    <a:pt x="2720" y="2299"/>
                  </a:lnTo>
                  <a:lnTo>
                    <a:pt x="2748" y="2327"/>
                  </a:lnTo>
                  <a:lnTo>
                    <a:pt x="2772" y="2361"/>
                  </a:lnTo>
                  <a:lnTo>
                    <a:pt x="2789" y="2398"/>
                  </a:lnTo>
                  <a:lnTo>
                    <a:pt x="2800" y="2438"/>
                  </a:lnTo>
                  <a:lnTo>
                    <a:pt x="2804" y="2480"/>
                  </a:lnTo>
                  <a:lnTo>
                    <a:pt x="2804" y="2567"/>
                  </a:lnTo>
                  <a:lnTo>
                    <a:pt x="2800" y="2607"/>
                  </a:lnTo>
                  <a:lnTo>
                    <a:pt x="2790" y="2644"/>
                  </a:lnTo>
                  <a:lnTo>
                    <a:pt x="2775" y="2680"/>
                  </a:lnTo>
                  <a:lnTo>
                    <a:pt x="2754" y="2711"/>
                  </a:lnTo>
                  <a:lnTo>
                    <a:pt x="2730" y="2739"/>
                  </a:lnTo>
                  <a:lnTo>
                    <a:pt x="2754" y="2767"/>
                  </a:lnTo>
                  <a:lnTo>
                    <a:pt x="2775" y="2799"/>
                  </a:lnTo>
                  <a:lnTo>
                    <a:pt x="2790" y="2834"/>
                  </a:lnTo>
                  <a:lnTo>
                    <a:pt x="2800" y="2872"/>
                  </a:lnTo>
                  <a:lnTo>
                    <a:pt x="2804" y="2912"/>
                  </a:lnTo>
                  <a:lnTo>
                    <a:pt x="2804" y="2998"/>
                  </a:lnTo>
                  <a:lnTo>
                    <a:pt x="2800" y="3037"/>
                  </a:lnTo>
                  <a:lnTo>
                    <a:pt x="2790" y="3076"/>
                  </a:lnTo>
                  <a:lnTo>
                    <a:pt x="2775" y="3111"/>
                  </a:lnTo>
                  <a:lnTo>
                    <a:pt x="2754" y="3143"/>
                  </a:lnTo>
                  <a:lnTo>
                    <a:pt x="2730" y="3170"/>
                  </a:lnTo>
                  <a:lnTo>
                    <a:pt x="2754" y="3199"/>
                  </a:lnTo>
                  <a:lnTo>
                    <a:pt x="2775" y="3230"/>
                  </a:lnTo>
                  <a:lnTo>
                    <a:pt x="2790" y="3266"/>
                  </a:lnTo>
                  <a:lnTo>
                    <a:pt x="2800" y="3303"/>
                  </a:lnTo>
                  <a:lnTo>
                    <a:pt x="2804" y="3343"/>
                  </a:lnTo>
                  <a:lnTo>
                    <a:pt x="2804" y="3430"/>
                  </a:lnTo>
                  <a:lnTo>
                    <a:pt x="2800" y="3470"/>
                  </a:lnTo>
                  <a:lnTo>
                    <a:pt x="2790" y="3507"/>
                  </a:lnTo>
                  <a:lnTo>
                    <a:pt x="2775" y="3542"/>
                  </a:lnTo>
                  <a:lnTo>
                    <a:pt x="2754" y="3574"/>
                  </a:lnTo>
                  <a:lnTo>
                    <a:pt x="2730" y="3603"/>
                  </a:lnTo>
                  <a:lnTo>
                    <a:pt x="2754" y="3630"/>
                  </a:lnTo>
                  <a:lnTo>
                    <a:pt x="2775" y="3662"/>
                  </a:lnTo>
                  <a:lnTo>
                    <a:pt x="2790" y="3697"/>
                  </a:lnTo>
                  <a:lnTo>
                    <a:pt x="2800" y="3734"/>
                  </a:lnTo>
                  <a:lnTo>
                    <a:pt x="2804" y="3774"/>
                  </a:lnTo>
                  <a:lnTo>
                    <a:pt x="2804" y="3861"/>
                  </a:lnTo>
                  <a:lnTo>
                    <a:pt x="2800" y="3903"/>
                  </a:lnTo>
                  <a:lnTo>
                    <a:pt x="2789" y="3944"/>
                  </a:lnTo>
                  <a:lnTo>
                    <a:pt x="2772" y="3980"/>
                  </a:lnTo>
                  <a:lnTo>
                    <a:pt x="2748" y="4014"/>
                  </a:lnTo>
                  <a:lnTo>
                    <a:pt x="2720" y="4042"/>
                  </a:lnTo>
                  <a:lnTo>
                    <a:pt x="2686" y="4066"/>
                  </a:lnTo>
                  <a:lnTo>
                    <a:pt x="2649" y="4083"/>
                  </a:lnTo>
                  <a:lnTo>
                    <a:pt x="2609" y="4094"/>
                  </a:lnTo>
                  <a:lnTo>
                    <a:pt x="2567" y="4098"/>
                  </a:lnTo>
                  <a:lnTo>
                    <a:pt x="1395" y="4098"/>
                  </a:lnTo>
                  <a:lnTo>
                    <a:pt x="1347" y="4096"/>
                  </a:lnTo>
                  <a:lnTo>
                    <a:pt x="1301" y="4086"/>
                  </a:lnTo>
                  <a:lnTo>
                    <a:pt x="1258" y="4071"/>
                  </a:lnTo>
                  <a:lnTo>
                    <a:pt x="1216" y="4051"/>
                  </a:lnTo>
                  <a:lnTo>
                    <a:pt x="1177" y="4025"/>
                  </a:lnTo>
                  <a:lnTo>
                    <a:pt x="1141" y="3994"/>
                  </a:lnTo>
                  <a:lnTo>
                    <a:pt x="1113" y="3970"/>
                  </a:lnTo>
                  <a:lnTo>
                    <a:pt x="1083" y="3950"/>
                  </a:lnTo>
                  <a:lnTo>
                    <a:pt x="1049" y="3937"/>
                  </a:lnTo>
                  <a:lnTo>
                    <a:pt x="1015" y="3928"/>
                  </a:lnTo>
                  <a:lnTo>
                    <a:pt x="979" y="3925"/>
                  </a:lnTo>
                  <a:lnTo>
                    <a:pt x="820" y="3925"/>
                  </a:lnTo>
                  <a:lnTo>
                    <a:pt x="820" y="3946"/>
                  </a:lnTo>
                  <a:lnTo>
                    <a:pt x="817" y="3978"/>
                  </a:lnTo>
                  <a:lnTo>
                    <a:pt x="807" y="4006"/>
                  </a:lnTo>
                  <a:lnTo>
                    <a:pt x="794" y="4031"/>
                  </a:lnTo>
                  <a:lnTo>
                    <a:pt x="775" y="4053"/>
                  </a:lnTo>
                  <a:lnTo>
                    <a:pt x="753" y="4072"/>
                  </a:lnTo>
                  <a:lnTo>
                    <a:pt x="728" y="4086"/>
                  </a:lnTo>
                  <a:lnTo>
                    <a:pt x="699" y="4096"/>
                  </a:lnTo>
                  <a:lnTo>
                    <a:pt x="668" y="4098"/>
                  </a:lnTo>
                  <a:lnTo>
                    <a:pt x="152" y="4098"/>
                  </a:lnTo>
                  <a:lnTo>
                    <a:pt x="120" y="4096"/>
                  </a:lnTo>
                  <a:lnTo>
                    <a:pt x="92" y="4086"/>
                  </a:lnTo>
                  <a:lnTo>
                    <a:pt x="67" y="4072"/>
                  </a:lnTo>
                  <a:lnTo>
                    <a:pt x="45" y="4053"/>
                  </a:lnTo>
                  <a:lnTo>
                    <a:pt x="26" y="4031"/>
                  </a:lnTo>
                  <a:lnTo>
                    <a:pt x="12" y="4006"/>
                  </a:lnTo>
                  <a:lnTo>
                    <a:pt x="2" y="3978"/>
                  </a:lnTo>
                  <a:lnTo>
                    <a:pt x="0" y="3946"/>
                  </a:lnTo>
                  <a:lnTo>
                    <a:pt x="0" y="2480"/>
                  </a:lnTo>
                  <a:lnTo>
                    <a:pt x="2" y="2450"/>
                  </a:lnTo>
                  <a:lnTo>
                    <a:pt x="12" y="2422"/>
                  </a:lnTo>
                  <a:lnTo>
                    <a:pt x="26" y="2395"/>
                  </a:lnTo>
                  <a:lnTo>
                    <a:pt x="45" y="2373"/>
                  </a:lnTo>
                  <a:lnTo>
                    <a:pt x="67" y="2356"/>
                  </a:lnTo>
                  <a:lnTo>
                    <a:pt x="92" y="2341"/>
                  </a:lnTo>
                  <a:lnTo>
                    <a:pt x="120" y="2332"/>
                  </a:lnTo>
                  <a:lnTo>
                    <a:pt x="152" y="2330"/>
                  </a:lnTo>
                  <a:lnTo>
                    <a:pt x="668" y="2330"/>
                  </a:lnTo>
                  <a:lnTo>
                    <a:pt x="699" y="2332"/>
                  </a:lnTo>
                  <a:lnTo>
                    <a:pt x="728" y="2341"/>
                  </a:lnTo>
                  <a:lnTo>
                    <a:pt x="753" y="2356"/>
                  </a:lnTo>
                  <a:lnTo>
                    <a:pt x="775" y="2373"/>
                  </a:lnTo>
                  <a:lnTo>
                    <a:pt x="794" y="2395"/>
                  </a:lnTo>
                  <a:lnTo>
                    <a:pt x="807" y="2422"/>
                  </a:lnTo>
                  <a:lnTo>
                    <a:pt x="817" y="2450"/>
                  </a:lnTo>
                  <a:lnTo>
                    <a:pt x="820" y="2480"/>
                  </a:lnTo>
                  <a:lnTo>
                    <a:pt x="820" y="2502"/>
                  </a:lnTo>
                  <a:lnTo>
                    <a:pt x="976" y="2502"/>
                  </a:lnTo>
                  <a:lnTo>
                    <a:pt x="1002" y="2499"/>
                  </a:lnTo>
                  <a:lnTo>
                    <a:pt x="1027" y="2489"/>
                  </a:lnTo>
                  <a:lnTo>
                    <a:pt x="1049" y="2474"/>
                  </a:lnTo>
                  <a:lnTo>
                    <a:pt x="1065" y="2453"/>
                  </a:lnTo>
                  <a:lnTo>
                    <a:pt x="1078" y="2428"/>
                  </a:lnTo>
                  <a:lnTo>
                    <a:pt x="1101" y="2356"/>
                  </a:lnTo>
                  <a:lnTo>
                    <a:pt x="1134" y="2250"/>
                  </a:lnTo>
                  <a:lnTo>
                    <a:pt x="1161" y="2142"/>
                  </a:lnTo>
                  <a:lnTo>
                    <a:pt x="1181" y="2034"/>
                  </a:lnTo>
                  <a:lnTo>
                    <a:pt x="1196" y="1925"/>
                  </a:lnTo>
                  <a:lnTo>
                    <a:pt x="1205" y="1814"/>
                  </a:lnTo>
                  <a:lnTo>
                    <a:pt x="1208" y="1704"/>
                  </a:lnTo>
                  <a:lnTo>
                    <a:pt x="1212" y="1662"/>
                  </a:lnTo>
                  <a:lnTo>
                    <a:pt x="1223" y="1622"/>
                  </a:lnTo>
                  <a:lnTo>
                    <a:pt x="1241" y="1585"/>
                  </a:lnTo>
                  <a:lnTo>
                    <a:pt x="1264" y="1551"/>
                  </a:lnTo>
                  <a:lnTo>
                    <a:pt x="1293" y="1522"/>
                  </a:lnTo>
                  <a:lnTo>
                    <a:pt x="1325" y="1499"/>
                  </a:lnTo>
                  <a:lnTo>
                    <a:pt x="1362" y="1481"/>
                  </a:lnTo>
                  <a:lnTo>
                    <a:pt x="1402" y="1470"/>
                  </a:lnTo>
                  <a:lnTo>
                    <a:pt x="1445" y="1467"/>
                  </a:lnTo>
                  <a:close/>
                  <a:moveTo>
                    <a:pt x="2348" y="1414"/>
                  </a:moveTo>
                  <a:lnTo>
                    <a:pt x="2397" y="1418"/>
                  </a:lnTo>
                  <a:lnTo>
                    <a:pt x="2443" y="1428"/>
                  </a:lnTo>
                  <a:lnTo>
                    <a:pt x="2486" y="1444"/>
                  </a:lnTo>
                  <a:lnTo>
                    <a:pt x="2527" y="1465"/>
                  </a:lnTo>
                  <a:lnTo>
                    <a:pt x="2564" y="1493"/>
                  </a:lnTo>
                  <a:lnTo>
                    <a:pt x="2598" y="1525"/>
                  </a:lnTo>
                  <a:lnTo>
                    <a:pt x="2626" y="1562"/>
                  </a:lnTo>
                  <a:lnTo>
                    <a:pt x="2650" y="1603"/>
                  </a:lnTo>
                  <a:lnTo>
                    <a:pt x="2667" y="1648"/>
                  </a:lnTo>
                  <a:lnTo>
                    <a:pt x="2679" y="1696"/>
                  </a:lnTo>
                  <a:lnTo>
                    <a:pt x="2684" y="1745"/>
                  </a:lnTo>
                  <a:lnTo>
                    <a:pt x="2680" y="1793"/>
                  </a:lnTo>
                  <a:lnTo>
                    <a:pt x="2670" y="1839"/>
                  </a:lnTo>
                  <a:lnTo>
                    <a:pt x="2654" y="1883"/>
                  </a:lnTo>
                  <a:lnTo>
                    <a:pt x="2633" y="1924"/>
                  </a:lnTo>
                  <a:lnTo>
                    <a:pt x="2605" y="1961"/>
                  </a:lnTo>
                  <a:lnTo>
                    <a:pt x="2573" y="1994"/>
                  </a:lnTo>
                  <a:lnTo>
                    <a:pt x="2536" y="2023"/>
                  </a:lnTo>
                  <a:lnTo>
                    <a:pt x="2495" y="2047"/>
                  </a:lnTo>
                  <a:lnTo>
                    <a:pt x="2450" y="2064"/>
                  </a:lnTo>
                  <a:lnTo>
                    <a:pt x="2402" y="2075"/>
                  </a:lnTo>
                  <a:lnTo>
                    <a:pt x="2351" y="2079"/>
                  </a:lnTo>
                  <a:lnTo>
                    <a:pt x="2304" y="2076"/>
                  </a:lnTo>
                  <a:lnTo>
                    <a:pt x="2258" y="2065"/>
                  </a:lnTo>
                  <a:lnTo>
                    <a:pt x="2214" y="2049"/>
                  </a:lnTo>
                  <a:lnTo>
                    <a:pt x="2173" y="2028"/>
                  </a:lnTo>
                  <a:lnTo>
                    <a:pt x="2136" y="2001"/>
                  </a:lnTo>
                  <a:lnTo>
                    <a:pt x="2102" y="1968"/>
                  </a:lnTo>
                  <a:lnTo>
                    <a:pt x="2075" y="1931"/>
                  </a:lnTo>
                  <a:lnTo>
                    <a:pt x="2051" y="1890"/>
                  </a:lnTo>
                  <a:lnTo>
                    <a:pt x="2034" y="1845"/>
                  </a:lnTo>
                  <a:lnTo>
                    <a:pt x="2023" y="1798"/>
                  </a:lnTo>
                  <a:lnTo>
                    <a:pt x="2019" y="1750"/>
                  </a:lnTo>
                  <a:lnTo>
                    <a:pt x="2022" y="1701"/>
                  </a:lnTo>
                  <a:lnTo>
                    <a:pt x="2032" y="1655"/>
                  </a:lnTo>
                  <a:lnTo>
                    <a:pt x="2048" y="1612"/>
                  </a:lnTo>
                  <a:lnTo>
                    <a:pt x="2070" y="1571"/>
                  </a:lnTo>
                  <a:lnTo>
                    <a:pt x="2097" y="1534"/>
                  </a:lnTo>
                  <a:lnTo>
                    <a:pt x="2130" y="1500"/>
                  </a:lnTo>
                  <a:lnTo>
                    <a:pt x="2166" y="1472"/>
                  </a:lnTo>
                  <a:lnTo>
                    <a:pt x="2207" y="1448"/>
                  </a:lnTo>
                  <a:lnTo>
                    <a:pt x="2251" y="1431"/>
                  </a:lnTo>
                  <a:lnTo>
                    <a:pt x="2300" y="1419"/>
                  </a:lnTo>
                  <a:lnTo>
                    <a:pt x="2348" y="1414"/>
                  </a:lnTo>
                  <a:close/>
                  <a:moveTo>
                    <a:pt x="3001" y="1208"/>
                  </a:moveTo>
                  <a:lnTo>
                    <a:pt x="3019" y="1208"/>
                  </a:lnTo>
                  <a:lnTo>
                    <a:pt x="3034" y="1213"/>
                  </a:lnTo>
                  <a:lnTo>
                    <a:pt x="3049" y="1222"/>
                  </a:lnTo>
                  <a:lnTo>
                    <a:pt x="3061" y="1234"/>
                  </a:lnTo>
                  <a:lnTo>
                    <a:pt x="3098" y="1291"/>
                  </a:lnTo>
                  <a:lnTo>
                    <a:pt x="3132" y="1352"/>
                  </a:lnTo>
                  <a:lnTo>
                    <a:pt x="3160" y="1413"/>
                  </a:lnTo>
                  <a:lnTo>
                    <a:pt x="3184" y="1478"/>
                  </a:lnTo>
                  <a:lnTo>
                    <a:pt x="3203" y="1544"/>
                  </a:lnTo>
                  <a:lnTo>
                    <a:pt x="3215" y="1612"/>
                  </a:lnTo>
                  <a:lnTo>
                    <a:pt x="3224" y="1686"/>
                  </a:lnTo>
                  <a:lnTo>
                    <a:pt x="3226" y="1760"/>
                  </a:lnTo>
                  <a:lnTo>
                    <a:pt x="3223" y="1833"/>
                  </a:lnTo>
                  <a:lnTo>
                    <a:pt x="3213" y="1905"/>
                  </a:lnTo>
                  <a:lnTo>
                    <a:pt x="3196" y="1974"/>
                  </a:lnTo>
                  <a:lnTo>
                    <a:pt x="3175" y="2044"/>
                  </a:lnTo>
                  <a:lnTo>
                    <a:pt x="3148" y="2111"/>
                  </a:lnTo>
                  <a:lnTo>
                    <a:pt x="3114" y="2176"/>
                  </a:lnTo>
                  <a:lnTo>
                    <a:pt x="3076" y="2238"/>
                  </a:lnTo>
                  <a:lnTo>
                    <a:pt x="3033" y="2296"/>
                  </a:lnTo>
                  <a:lnTo>
                    <a:pt x="2983" y="2352"/>
                  </a:lnTo>
                  <a:lnTo>
                    <a:pt x="2969" y="2363"/>
                  </a:lnTo>
                  <a:lnTo>
                    <a:pt x="2953" y="2371"/>
                  </a:lnTo>
                  <a:lnTo>
                    <a:pt x="2936" y="2373"/>
                  </a:lnTo>
                  <a:lnTo>
                    <a:pt x="2920" y="2371"/>
                  </a:lnTo>
                  <a:lnTo>
                    <a:pt x="2905" y="2364"/>
                  </a:lnTo>
                  <a:lnTo>
                    <a:pt x="2891" y="2354"/>
                  </a:lnTo>
                  <a:lnTo>
                    <a:pt x="2879" y="2338"/>
                  </a:lnTo>
                  <a:lnTo>
                    <a:pt x="2872" y="2320"/>
                  </a:lnTo>
                  <a:lnTo>
                    <a:pt x="2872" y="2300"/>
                  </a:lnTo>
                  <a:lnTo>
                    <a:pt x="2877" y="2280"/>
                  </a:lnTo>
                  <a:lnTo>
                    <a:pt x="2890" y="2263"/>
                  </a:lnTo>
                  <a:lnTo>
                    <a:pt x="2936" y="2210"/>
                  </a:lnTo>
                  <a:lnTo>
                    <a:pt x="2975" y="2155"/>
                  </a:lnTo>
                  <a:lnTo>
                    <a:pt x="3010" y="2096"/>
                  </a:lnTo>
                  <a:lnTo>
                    <a:pt x="3040" y="2034"/>
                  </a:lnTo>
                  <a:lnTo>
                    <a:pt x="3062" y="1971"/>
                  </a:lnTo>
                  <a:lnTo>
                    <a:pt x="3080" y="1905"/>
                  </a:lnTo>
                  <a:lnTo>
                    <a:pt x="3091" y="1838"/>
                  </a:lnTo>
                  <a:lnTo>
                    <a:pt x="3097" y="1771"/>
                  </a:lnTo>
                  <a:lnTo>
                    <a:pt x="3096" y="1701"/>
                  </a:lnTo>
                  <a:lnTo>
                    <a:pt x="3087" y="1632"/>
                  </a:lnTo>
                  <a:lnTo>
                    <a:pt x="3074" y="1562"/>
                  </a:lnTo>
                  <a:lnTo>
                    <a:pt x="3054" y="1495"/>
                  </a:lnTo>
                  <a:lnTo>
                    <a:pt x="3026" y="1431"/>
                  </a:lnTo>
                  <a:lnTo>
                    <a:pt x="2994" y="1370"/>
                  </a:lnTo>
                  <a:lnTo>
                    <a:pt x="2956" y="1310"/>
                  </a:lnTo>
                  <a:lnTo>
                    <a:pt x="2948" y="1295"/>
                  </a:lnTo>
                  <a:lnTo>
                    <a:pt x="2943" y="1279"/>
                  </a:lnTo>
                  <a:lnTo>
                    <a:pt x="2944" y="1262"/>
                  </a:lnTo>
                  <a:lnTo>
                    <a:pt x="2949" y="1247"/>
                  </a:lnTo>
                  <a:lnTo>
                    <a:pt x="2958" y="1232"/>
                  </a:lnTo>
                  <a:lnTo>
                    <a:pt x="2970" y="1221"/>
                  </a:lnTo>
                  <a:lnTo>
                    <a:pt x="2985" y="1212"/>
                  </a:lnTo>
                  <a:lnTo>
                    <a:pt x="3001" y="1208"/>
                  </a:lnTo>
                  <a:close/>
                  <a:moveTo>
                    <a:pt x="2373" y="872"/>
                  </a:moveTo>
                  <a:lnTo>
                    <a:pt x="2450" y="877"/>
                  </a:lnTo>
                  <a:lnTo>
                    <a:pt x="2526" y="889"/>
                  </a:lnTo>
                  <a:lnTo>
                    <a:pt x="2602" y="908"/>
                  </a:lnTo>
                  <a:lnTo>
                    <a:pt x="2674" y="933"/>
                  </a:lnTo>
                  <a:lnTo>
                    <a:pt x="2744" y="965"/>
                  </a:lnTo>
                  <a:lnTo>
                    <a:pt x="2813" y="1003"/>
                  </a:lnTo>
                  <a:lnTo>
                    <a:pt x="2877" y="1048"/>
                  </a:lnTo>
                  <a:lnTo>
                    <a:pt x="2890" y="1061"/>
                  </a:lnTo>
                  <a:lnTo>
                    <a:pt x="2898" y="1075"/>
                  </a:lnTo>
                  <a:lnTo>
                    <a:pt x="2903" y="1092"/>
                  </a:lnTo>
                  <a:lnTo>
                    <a:pt x="2903" y="1108"/>
                  </a:lnTo>
                  <a:lnTo>
                    <a:pt x="2900" y="1124"/>
                  </a:lnTo>
                  <a:lnTo>
                    <a:pt x="2891" y="1139"/>
                  </a:lnTo>
                  <a:lnTo>
                    <a:pt x="2879" y="1151"/>
                  </a:lnTo>
                  <a:lnTo>
                    <a:pt x="2864" y="1160"/>
                  </a:lnTo>
                  <a:lnTo>
                    <a:pt x="2847" y="1164"/>
                  </a:lnTo>
                  <a:lnTo>
                    <a:pt x="2831" y="1165"/>
                  </a:lnTo>
                  <a:lnTo>
                    <a:pt x="2815" y="1160"/>
                  </a:lnTo>
                  <a:lnTo>
                    <a:pt x="2800" y="1151"/>
                  </a:lnTo>
                  <a:lnTo>
                    <a:pt x="2744" y="1114"/>
                  </a:lnTo>
                  <a:lnTo>
                    <a:pt x="2686" y="1080"/>
                  </a:lnTo>
                  <a:lnTo>
                    <a:pt x="2626" y="1053"/>
                  </a:lnTo>
                  <a:lnTo>
                    <a:pt x="2564" y="1032"/>
                  </a:lnTo>
                  <a:lnTo>
                    <a:pt x="2500" y="1016"/>
                  </a:lnTo>
                  <a:lnTo>
                    <a:pt x="2435" y="1006"/>
                  </a:lnTo>
                  <a:lnTo>
                    <a:pt x="2369" y="1001"/>
                  </a:lnTo>
                  <a:lnTo>
                    <a:pt x="2302" y="1003"/>
                  </a:lnTo>
                  <a:lnTo>
                    <a:pt x="2237" y="1011"/>
                  </a:lnTo>
                  <a:lnTo>
                    <a:pt x="2168" y="1025"/>
                  </a:lnTo>
                  <a:lnTo>
                    <a:pt x="2102" y="1044"/>
                  </a:lnTo>
                  <a:lnTo>
                    <a:pt x="2039" y="1069"/>
                  </a:lnTo>
                  <a:lnTo>
                    <a:pt x="1978" y="1100"/>
                  </a:lnTo>
                  <a:lnTo>
                    <a:pt x="1921" y="1136"/>
                  </a:lnTo>
                  <a:lnTo>
                    <a:pt x="1868" y="1178"/>
                  </a:lnTo>
                  <a:lnTo>
                    <a:pt x="1819" y="1224"/>
                  </a:lnTo>
                  <a:lnTo>
                    <a:pt x="1773" y="1275"/>
                  </a:lnTo>
                  <a:lnTo>
                    <a:pt x="1732" y="1330"/>
                  </a:lnTo>
                  <a:lnTo>
                    <a:pt x="1696" y="1390"/>
                  </a:lnTo>
                  <a:lnTo>
                    <a:pt x="1685" y="1404"/>
                  </a:lnTo>
                  <a:lnTo>
                    <a:pt x="1671" y="1414"/>
                  </a:lnTo>
                  <a:lnTo>
                    <a:pt x="1657" y="1422"/>
                  </a:lnTo>
                  <a:lnTo>
                    <a:pt x="1639" y="1423"/>
                  </a:lnTo>
                  <a:lnTo>
                    <a:pt x="1624" y="1422"/>
                  </a:lnTo>
                  <a:lnTo>
                    <a:pt x="1608" y="1416"/>
                  </a:lnTo>
                  <a:lnTo>
                    <a:pt x="1594" y="1406"/>
                  </a:lnTo>
                  <a:lnTo>
                    <a:pt x="1585" y="1392"/>
                  </a:lnTo>
                  <a:lnTo>
                    <a:pt x="1577" y="1377"/>
                  </a:lnTo>
                  <a:lnTo>
                    <a:pt x="1575" y="1361"/>
                  </a:lnTo>
                  <a:lnTo>
                    <a:pt x="1577" y="1344"/>
                  </a:lnTo>
                  <a:lnTo>
                    <a:pt x="1583" y="1328"/>
                  </a:lnTo>
                  <a:lnTo>
                    <a:pt x="1621" y="1264"/>
                  </a:lnTo>
                  <a:lnTo>
                    <a:pt x="1664" y="1205"/>
                  </a:lnTo>
                  <a:lnTo>
                    <a:pt x="1711" y="1149"/>
                  </a:lnTo>
                  <a:lnTo>
                    <a:pt x="1763" y="1098"/>
                  </a:lnTo>
                  <a:lnTo>
                    <a:pt x="1818" y="1052"/>
                  </a:lnTo>
                  <a:lnTo>
                    <a:pt x="1878" y="1011"/>
                  </a:lnTo>
                  <a:lnTo>
                    <a:pt x="1940" y="974"/>
                  </a:lnTo>
                  <a:lnTo>
                    <a:pt x="2004" y="943"/>
                  </a:lnTo>
                  <a:lnTo>
                    <a:pt x="2073" y="918"/>
                  </a:lnTo>
                  <a:lnTo>
                    <a:pt x="2143" y="897"/>
                  </a:lnTo>
                  <a:lnTo>
                    <a:pt x="2215" y="883"/>
                  </a:lnTo>
                  <a:lnTo>
                    <a:pt x="2295" y="874"/>
                  </a:lnTo>
                  <a:lnTo>
                    <a:pt x="2373" y="872"/>
                  </a:lnTo>
                  <a:close/>
                  <a:moveTo>
                    <a:pt x="2246" y="0"/>
                  </a:moveTo>
                  <a:lnTo>
                    <a:pt x="2455" y="0"/>
                  </a:lnTo>
                  <a:lnTo>
                    <a:pt x="2494" y="4"/>
                  </a:lnTo>
                  <a:lnTo>
                    <a:pt x="2530" y="14"/>
                  </a:lnTo>
                  <a:lnTo>
                    <a:pt x="2563" y="29"/>
                  </a:lnTo>
                  <a:lnTo>
                    <a:pt x="2593" y="50"/>
                  </a:lnTo>
                  <a:lnTo>
                    <a:pt x="2619" y="75"/>
                  </a:lnTo>
                  <a:lnTo>
                    <a:pt x="2641" y="104"/>
                  </a:lnTo>
                  <a:lnTo>
                    <a:pt x="2657" y="138"/>
                  </a:lnTo>
                  <a:lnTo>
                    <a:pt x="2669" y="175"/>
                  </a:lnTo>
                  <a:lnTo>
                    <a:pt x="2737" y="518"/>
                  </a:lnTo>
                  <a:lnTo>
                    <a:pt x="2809" y="543"/>
                  </a:lnTo>
                  <a:lnTo>
                    <a:pt x="2879" y="572"/>
                  </a:lnTo>
                  <a:lnTo>
                    <a:pt x="2947" y="605"/>
                  </a:lnTo>
                  <a:lnTo>
                    <a:pt x="3239" y="411"/>
                  </a:lnTo>
                  <a:lnTo>
                    <a:pt x="3272" y="392"/>
                  </a:lnTo>
                  <a:lnTo>
                    <a:pt x="3307" y="381"/>
                  </a:lnTo>
                  <a:lnTo>
                    <a:pt x="3343" y="375"/>
                  </a:lnTo>
                  <a:lnTo>
                    <a:pt x="3380" y="375"/>
                  </a:lnTo>
                  <a:lnTo>
                    <a:pt x="3416" y="382"/>
                  </a:lnTo>
                  <a:lnTo>
                    <a:pt x="3451" y="395"/>
                  </a:lnTo>
                  <a:lnTo>
                    <a:pt x="3483" y="414"/>
                  </a:lnTo>
                  <a:lnTo>
                    <a:pt x="3513" y="438"/>
                  </a:lnTo>
                  <a:lnTo>
                    <a:pt x="3660" y="585"/>
                  </a:lnTo>
                  <a:lnTo>
                    <a:pt x="3684" y="615"/>
                  </a:lnTo>
                  <a:lnTo>
                    <a:pt x="3703" y="647"/>
                  </a:lnTo>
                  <a:lnTo>
                    <a:pt x="3716" y="682"/>
                  </a:lnTo>
                  <a:lnTo>
                    <a:pt x="3723" y="718"/>
                  </a:lnTo>
                  <a:lnTo>
                    <a:pt x="3723" y="755"/>
                  </a:lnTo>
                  <a:lnTo>
                    <a:pt x="3717" y="791"/>
                  </a:lnTo>
                  <a:lnTo>
                    <a:pt x="3706" y="826"/>
                  </a:lnTo>
                  <a:lnTo>
                    <a:pt x="3687" y="859"/>
                  </a:lnTo>
                  <a:lnTo>
                    <a:pt x="3493" y="1151"/>
                  </a:lnTo>
                  <a:lnTo>
                    <a:pt x="3526" y="1219"/>
                  </a:lnTo>
                  <a:lnTo>
                    <a:pt x="3555" y="1289"/>
                  </a:lnTo>
                  <a:lnTo>
                    <a:pt x="3580" y="1361"/>
                  </a:lnTo>
                  <a:lnTo>
                    <a:pt x="3923" y="1429"/>
                  </a:lnTo>
                  <a:lnTo>
                    <a:pt x="3960" y="1441"/>
                  </a:lnTo>
                  <a:lnTo>
                    <a:pt x="3994" y="1457"/>
                  </a:lnTo>
                  <a:lnTo>
                    <a:pt x="4023" y="1479"/>
                  </a:lnTo>
                  <a:lnTo>
                    <a:pt x="4048" y="1505"/>
                  </a:lnTo>
                  <a:lnTo>
                    <a:pt x="4069" y="1535"/>
                  </a:lnTo>
                  <a:lnTo>
                    <a:pt x="4084" y="1568"/>
                  </a:lnTo>
                  <a:lnTo>
                    <a:pt x="4094" y="1604"/>
                  </a:lnTo>
                  <a:lnTo>
                    <a:pt x="4098" y="1643"/>
                  </a:lnTo>
                  <a:lnTo>
                    <a:pt x="4098" y="1852"/>
                  </a:lnTo>
                  <a:lnTo>
                    <a:pt x="4094" y="1889"/>
                  </a:lnTo>
                  <a:lnTo>
                    <a:pt x="4084" y="1925"/>
                  </a:lnTo>
                  <a:lnTo>
                    <a:pt x="4069" y="1958"/>
                  </a:lnTo>
                  <a:lnTo>
                    <a:pt x="4048" y="1989"/>
                  </a:lnTo>
                  <a:lnTo>
                    <a:pt x="4023" y="2015"/>
                  </a:lnTo>
                  <a:lnTo>
                    <a:pt x="3994" y="2037"/>
                  </a:lnTo>
                  <a:lnTo>
                    <a:pt x="3960" y="2054"/>
                  </a:lnTo>
                  <a:lnTo>
                    <a:pt x="3923" y="2064"/>
                  </a:lnTo>
                  <a:lnTo>
                    <a:pt x="3580" y="2133"/>
                  </a:lnTo>
                  <a:lnTo>
                    <a:pt x="3555" y="2204"/>
                  </a:lnTo>
                  <a:lnTo>
                    <a:pt x="3526" y="2275"/>
                  </a:lnTo>
                  <a:lnTo>
                    <a:pt x="3493" y="2343"/>
                  </a:lnTo>
                  <a:lnTo>
                    <a:pt x="3687" y="2634"/>
                  </a:lnTo>
                  <a:lnTo>
                    <a:pt x="3706" y="2667"/>
                  </a:lnTo>
                  <a:lnTo>
                    <a:pt x="3717" y="2703"/>
                  </a:lnTo>
                  <a:lnTo>
                    <a:pt x="3723" y="2739"/>
                  </a:lnTo>
                  <a:lnTo>
                    <a:pt x="3723" y="2777"/>
                  </a:lnTo>
                  <a:lnTo>
                    <a:pt x="3716" y="2813"/>
                  </a:lnTo>
                  <a:lnTo>
                    <a:pt x="3703" y="2847"/>
                  </a:lnTo>
                  <a:lnTo>
                    <a:pt x="3684" y="2880"/>
                  </a:lnTo>
                  <a:lnTo>
                    <a:pt x="3660" y="2908"/>
                  </a:lnTo>
                  <a:lnTo>
                    <a:pt x="3513" y="3056"/>
                  </a:lnTo>
                  <a:lnTo>
                    <a:pt x="3486" y="3078"/>
                  </a:lnTo>
                  <a:lnTo>
                    <a:pt x="3456" y="3096"/>
                  </a:lnTo>
                  <a:lnTo>
                    <a:pt x="3425" y="3110"/>
                  </a:lnTo>
                  <a:lnTo>
                    <a:pt x="3393" y="3117"/>
                  </a:lnTo>
                  <a:lnTo>
                    <a:pt x="3359" y="3119"/>
                  </a:lnTo>
                  <a:lnTo>
                    <a:pt x="3327" y="3117"/>
                  </a:lnTo>
                  <a:lnTo>
                    <a:pt x="3297" y="3111"/>
                  </a:lnTo>
                  <a:lnTo>
                    <a:pt x="3266" y="3100"/>
                  </a:lnTo>
                  <a:lnTo>
                    <a:pt x="3239" y="3083"/>
                  </a:lnTo>
                  <a:lnTo>
                    <a:pt x="2915" y="2867"/>
                  </a:lnTo>
                  <a:lnTo>
                    <a:pt x="2901" y="2856"/>
                  </a:lnTo>
                  <a:lnTo>
                    <a:pt x="2892" y="2843"/>
                  </a:lnTo>
                  <a:lnTo>
                    <a:pt x="2887" y="2826"/>
                  </a:lnTo>
                  <a:lnTo>
                    <a:pt x="2886" y="2810"/>
                  </a:lnTo>
                  <a:lnTo>
                    <a:pt x="2888" y="2793"/>
                  </a:lnTo>
                  <a:lnTo>
                    <a:pt x="2897" y="2778"/>
                  </a:lnTo>
                  <a:lnTo>
                    <a:pt x="2908" y="2764"/>
                  </a:lnTo>
                  <a:lnTo>
                    <a:pt x="2922" y="2756"/>
                  </a:lnTo>
                  <a:lnTo>
                    <a:pt x="2938" y="2751"/>
                  </a:lnTo>
                  <a:lnTo>
                    <a:pt x="2954" y="2749"/>
                  </a:lnTo>
                  <a:lnTo>
                    <a:pt x="2970" y="2752"/>
                  </a:lnTo>
                  <a:lnTo>
                    <a:pt x="2987" y="2759"/>
                  </a:lnTo>
                  <a:lnTo>
                    <a:pt x="3309" y="2975"/>
                  </a:lnTo>
                  <a:lnTo>
                    <a:pt x="3328" y="2985"/>
                  </a:lnTo>
                  <a:lnTo>
                    <a:pt x="3348" y="2989"/>
                  </a:lnTo>
                  <a:lnTo>
                    <a:pt x="3368" y="2990"/>
                  </a:lnTo>
                  <a:lnTo>
                    <a:pt x="3386" y="2985"/>
                  </a:lnTo>
                  <a:lnTo>
                    <a:pt x="3405" y="2977"/>
                  </a:lnTo>
                  <a:lnTo>
                    <a:pt x="3421" y="2964"/>
                  </a:lnTo>
                  <a:lnTo>
                    <a:pt x="3568" y="2818"/>
                  </a:lnTo>
                  <a:lnTo>
                    <a:pt x="3581" y="2802"/>
                  </a:lnTo>
                  <a:lnTo>
                    <a:pt x="3590" y="2783"/>
                  </a:lnTo>
                  <a:lnTo>
                    <a:pt x="3594" y="2763"/>
                  </a:lnTo>
                  <a:lnTo>
                    <a:pt x="3594" y="2743"/>
                  </a:lnTo>
                  <a:lnTo>
                    <a:pt x="3589" y="2725"/>
                  </a:lnTo>
                  <a:lnTo>
                    <a:pt x="3579" y="2706"/>
                  </a:lnTo>
                  <a:lnTo>
                    <a:pt x="3364" y="2382"/>
                  </a:lnTo>
                  <a:lnTo>
                    <a:pt x="3355" y="2366"/>
                  </a:lnTo>
                  <a:lnTo>
                    <a:pt x="3353" y="2348"/>
                  </a:lnTo>
                  <a:lnTo>
                    <a:pt x="3354" y="2331"/>
                  </a:lnTo>
                  <a:lnTo>
                    <a:pt x="3362" y="2315"/>
                  </a:lnTo>
                  <a:lnTo>
                    <a:pt x="3393" y="2254"/>
                  </a:lnTo>
                  <a:lnTo>
                    <a:pt x="3421" y="2191"/>
                  </a:lnTo>
                  <a:lnTo>
                    <a:pt x="3446" y="2126"/>
                  </a:lnTo>
                  <a:lnTo>
                    <a:pt x="3467" y="2060"/>
                  </a:lnTo>
                  <a:lnTo>
                    <a:pt x="3473" y="2044"/>
                  </a:lnTo>
                  <a:lnTo>
                    <a:pt x="3485" y="2030"/>
                  </a:lnTo>
                  <a:lnTo>
                    <a:pt x="3499" y="2019"/>
                  </a:lnTo>
                  <a:lnTo>
                    <a:pt x="3517" y="2014"/>
                  </a:lnTo>
                  <a:lnTo>
                    <a:pt x="3898" y="1937"/>
                  </a:lnTo>
                  <a:lnTo>
                    <a:pt x="3920" y="1930"/>
                  </a:lnTo>
                  <a:lnTo>
                    <a:pt x="3940" y="1916"/>
                  </a:lnTo>
                  <a:lnTo>
                    <a:pt x="3955" y="1897"/>
                  </a:lnTo>
                  <a:lnTo>
                    <a:pt x="3965" y="1875"/>
                  </a:lnTo>
                  <a:lnTo>
                    <a:pt x="3969" y="1852"/>
                  </a:lnTo>
                  <a:lnTo>
                    <a:pt x="3969" y="1643"/>
                  </a:lnTo>
                  <a:lnTo>
                    <a:pt x="3965" y="1618"/>
                  </a:lnTo>
                  <a:lnTo>
                    <a:pt x="3955" y="1597"/>
                  </a:lnTo>
                  <a:lnTo>
                    <a:pt x="3940" y="1578"/>
                  </a:lnTo>
                  <a:lnTo>
                    <a:pt x="3920" y="1565"/>
                  </a:lnTo>
                  <a:lnTo>
                    <a:pt x="3898" y="1556"/>
                  </a:lnTo>
                  <a:lnTo>
                    <a:pt x="3517" y="1480"/>
                  </a:lnTo>
                  <a:lnTo>
                    <a:pt x="3499" y="1474"/>
                  </a:lnTo>
                  <a:lnTo>
                    <a:pt x="3485" y="1464"/>
                  </a:lnTo>
                  <a:lnTo>
                    <a:pt x="3473" y="1450"/>
                  </a:lnTo>
                  <a:lnTo>
                    <a:pt x="3467" y="1434"/>
                  </a:lnTo>
                  <a:lnTo>
                    <a:pt x="3446" y="1368"/>
                  </a:lnTo>
                  <a:lnTo>
                    <a:pt x="3421" y="1304"/>
                  </a:lnTo>
                  <a:lnTo>
                    <a:pt x="3393" y="1241"/>
                  </a:lnTo>
                  <a:lnTo>
                    <a:pt x="3362" y="1180"/>
                  </a:lnTo>
                  <a:lnTo>
                    <a:pt x="3354" y="1162"/>
                  </a:lnTo>
                  <a:lnTo>
                    <a:pt x="3353" y="1145"/>
                  </a:lnTo>
                  <a:lnTo>
                    <a:pt x="3355" y="1128"/>
                  </a:lnTo>
                  <a:lnTo>
                    <a:pt x="3364" y="1111"/>
                  </a:lnTo>
                  <a:lnTo>
                    <a:pt x="3579" y="789"/>
                  </a:lnTo>
                  <a:lnTo>
                    <a:pt x="3589" y="770"/>
                  </a:lnTo>
                  <a:lnTo>
                    <a:pt x="3594" y="750"/>
                  </a:lnTo>
                  <a:lnTo>
                    <a:pt x="3594" y="730"/>
                  </a:lnTo>
                  <a:lnTo>
                    <a:pt x="3590" y="712"/>
                  </a:lnTo>
                  <a:lnTo>
                    <a:pt x="3581" y="693"/>
                  </a:lnTo>
                  <a:lnTo>
                    <a:pt x="3568" y="677"/>
                  </a:lnTo>
                  <a:lnTo>
                    <a:pt x="3421" y="530"/>
                  </a:lnTo>
                  <a:lnTo>
                    <a:pt x="3405" y="517"/>
                  </a:lnTo>
                  <a:lnTo>
                    <a:pt x="3386" y="508"/>
                  </a:lnTo>
                  <a:lnTo>
                    <a:pt x="3368" y="504"/>
                  </a:lnTo>
                  <a:lnTo>
                    <a:pt x="3348" y="504"/>
                  </a:lnTo>
                  <a:lnTo>
                    <a:pt x="3328" y="509"/>
                  </a:lnTo>
                  <a:lnTo>
                    <a:pt x="3309" y="519"/>
                  </a:lnTo>
                  <a:lnTo>
                    <a:pt x="2987" y="734"/>
                  </a:lnTo>
                  <a:lnTo>
                    <a:pt x="2970" y="743"/>
                  </a:lnTo>
                  <a:lnTo>
                    <a:pt x="2953" y="745"/>
                  </a:lnTo>
                  <a:lnTo>
                    <a:pt x="2936" y="744"/>
                  </a:lnTo>
                  <a:lnTo>
                    <a:pt x="2918" y="736"/>
                  </a:lnTo>
                  <a:lnTo>
                    <a:pt x="2857" y="705"/>
                  </a:lnTo>
                  <a:lnTo>
                    <a:pt x="2794" y="677"/>
                  </a:lnTo>
                  <a:lnTo>
                    <a:pt x="2730" y="652"/>
                  </a:lnTo>
                  <a:lnTo>
                    <a:pt x="2664" y="631"/>
                  </a:lnTo>
                  <a:lnTo>
                    <a:pt x="2648" y="625"/>
                  </a:lnTo>
                  <a:lnTo>
                    <a:pt x="2634" y="613"/>
                  </a:lnTo>
                  <a:lnTo>
                    <a:pt x="2624" y="599"/>
                  </a:lnTo>
                  <a:lnTo>
                    <a:pt x="2618" y="581"/>
                  </a:lnTo>
                  <a:lnTo>
                    <a:pt x="2542" y="200"/>
                  </a:lnTo>
                  <a:lnTo>
                    <a:pt x="2533" y="178"/>
                  </a:lnTo>
                  <a:lnTo>
                    <a:pt x="2520" y="158"/>
                  </a:lnTo>
                  <a:lnTo>
                    <a:pt x="2501" y="143"/>
                  </a:lnTo>
                  <a:lnTo>
                    <a:pt x="2480" y="133"/>
                  </a:lnTo>
                  <a:lnTo>
                    <a:pt x="2455" y="129"/>
                  </a:lnTo>
                  <a:lnTo>
                    <a:pt x="2246" y="129"/>
                  </a:lnTo>
                  <a:lnTo>
                    <a:pt x="2223" y="133"/>
                  </a:lnTo>
                  <a:lnTo>
                    <a:pt x="2201" y="143"/>
                  </a:lnTo>
                  <a:lnTo>
                    <a:pt x="2182" y="158"/>
                  </a:lnTo>
                  <a:lnTo>
                    <a:pt x="2168" y="178"/>
                  </a:lnTo>
                  <a:lnTo>
                    <a:pt x="2161" y="200"/>
                  </a:lnTo>
                  <a:lnTo>
                    <a:pt x="2084" y="581"/>
                  </a:lnTo>
                  <a:lnTo>
                    <a:pt x="2079" y="599"/>
                  </a:lnTo>
                  <a:lnTo>
                    <a:pt x="2068" y="613"/>
                  </a:lnTo>
                  <a:lnTo>
                    <a:pt x="2054" y="625"/>
                  </a:lnTo>
                  <a:lnTo>
                    <a:pt x="2038" y="631"/>
                  </a:lnTo>
                  <a:lnTo>
                    <a:pt x="1972" y="652"/>
                  </a:lnTo>
                  <a:lnTo>
                    <a:pt x="1907" y="677"/>
                  </a:lnTo>
                  <a:lnTo>
                    <a:pt x="1844" y="705"/>
                  </a:lnTo>
                  <a:lnTo>
                    <a:pt x="1783" y="736"/>
                  </a:lnTo>
                  <a:lnTo>
                    <a:pt x="1767" y="744"/>
                  </a:lnTo>
                  <a:lnTo>
                    <a:pt x="1748" y="745"/>
                  </a:lnTo>
                  <a:lnTo>
                    <a:pt x="1732" y="743"/>
                  </a:lnTo>
                  <a:lnTo>
                    <a:pt x="1716" y="734"/>
                  </a:lnTo>
                  <a:lnTo>
                    <a:pt x="1392" y="519"/>
                  </a:lnTo>
                  <a:lnTo>
                    <a:pt x="1373" y="509"/>
                  </a:lnTo>
                  <a:lnTo>
                    <a:pt x="1355" y="504"/>
                  </a:lnTo>
                  <a:lnTo>
                    <a:pt x="1335" y="504"/>
                  </a:lnTo>
                  <a:lnTo>
                    <a:pt x="1315" y="508"/>
                  </a:lnTo>
                  <a:lnTo>
                    <a:pt x="1296" y="517"/>
                  </a:lnTo>
                  <a:lnTo>
                    <a:pt x="1280" y="530"/>
                  </a:lnTo>
                  <a:lnTo>
                    <a:pt x="1134" y="677"/>
                  </a:lnTo>
                  <a:lnTo>
                    <a:pt x="1121" y="693"/>
                  </a:lnTo>
                  <a:lnTo>
                    <a:pt x="1113" y="712"/>
                  </a:lnTo>
                  <a:lnTo>
                    <a:pt x="1108" y="730"/>
                  </a:lnTo>
                  <a:lnTo>
                    <a:pt x="1109" y="750"/>
                  </a:lnTo>
                  <a:lnTo>
                    <a:pt x="1113" y="770"/>
                  </a:lnTo>
                  <a:lnTo>
                    <a:pt x="1123" y="789"/>
                  </a:lnTo>
                  <a:lnTo>
                    <a:pt x="1339" y="1111"/>
                  </a:lnTo>
                  <a:lnTo>
                    <a:pt x="1346" y="1128"/>
                  </a:lnTo>
                  <a:lnTo>
                    <a:pt x="1349" y="1145"/>
                  </a:lnTo>
                  <a:lnTo>
                    <a:pt x="1347" y="1162"/>
                  </a:lnTo>
                  <a:lnTo>
                    <a:pt x="1341" y="1180"/>
                  </a:lnTo>
                  <a:lnTo>
                    <a:pt x="1309" y="1241"/>
                  </a:lnTo>
                  <a:lnTo>
                    <a:pt x="1280" y="1304"/>
                  </a:lnTo>
                  <a:lnTo>
                    <a:pt x="1255" y="1368"/>
                  </a:lnTo>
                  <a:lnTo>
                    <a:pt x="1236" y="1434"/>
                  </a:lnTo>
                  <a:lnTo>
                    <a:pt x="1228" y="1450"/>
                  </a:lnTo>
                  <a:lnTo>
                    <a:pt x="1217" y="1464"/>
                  </a:lnTo>
                  <a:lnTo>
                    <a:pt x="1202" y="1474"/>
                  </a:lnTo>
                  <a:lnTo>
                    <a:pt x="1186" y="1480"/>
                  </a:lnTo>
                  <a:lnTo>
                    <a:pt x="805" y="1556"/>
                  </a:lnTo>
                  <a:lnTo>
                    <a:pt x="781" y="1565"/>
                  </a:lnTo>
                  <a:lnTo>
                    <a:pt x="761" y="1578"/>
                  </a:lnTo>
                  <a:lnTo>
                    <a:pt x="746" y="1597"/>
                  </a:lnTo>
                  <a:lnTo>
                    <a:pt x="736" y="1619"/>
                  </a:lnTo>
                  <a:lnTo>
                    <a:pt x="734" y="1643"/>
                  </a:lnTo>
                  <a:lnTo>
                    <a:pt x="734" y="1852"/>
                  </a:lnTo>
                  <a:lnTo>
                    <a:pt x="736" y="1875"/>
                  </a:lnTo>
                  <a:lnTo>
                    <a:pt x="746" y="1897"/>
                  </a:lnTo>
                  <a:lnTo>
                    <a:pt x="761" y="1916"/>
                  </a:lnTo>
                  <a:lnTo>
                    <a:pt x="781" y="1930"/>
                  </a:lnTo>
                  <a:lnTo>
                    <a:pt x="805" y="1937"/>
                  </a:lnTo>
                  <a:lnTo>
                    <a:pt x="1027" y="1982"/>
                  </a:lnTo>
                  <a:lnTo>
                    <a:pt x="1046" y="1989"/>
                  </a:lnTo>
                  <a:lnTo>
                    <a:pt x="1062" y="2002"/>
                  </a:lnTo>
                  <a:lnTo>
                    <a:pt x="1073" y="2018"/>
                  </a:lnTo>
                  <a:lnTo>
                    <a:pt x="1078" y="2038"/>
                  </a:lnTo>
                  <a:lnTo>
                    <a:pt x="1077" y="2058"/>
                  </a:lnTo>
                  <a:lnTo>
                    <a:pt x="1070" y="2078"/>
                  </a:lnTo>
                  <a:lnTo>
                    <a:pt x="1058" y="2094"/>
                  </a:lnTo>
                  <a:lnTo>
                    <a:pt x="1041" y="2104"/>
                  </a:lnTo>
                  <a:lnTo>
                    <a:pt x="1022" y="2110"/>
                  </a:lnTo>
                  <a:lnTo>
                    <a:pt x="1001" y="2109"/>
                  </a:lnTo>
                  <a:lnTo>
                    <a:pt x="779" y="2064"/>
                  </a:lnTo>
                  <a:lnTo>
                    <a:pt x="743" y="2054"/>
                  </a:lnTo>
                  <a:lnTo>
                    <a:pt x="709" y="2037"/>
                  </a:lnTo>
                  <a:lnTo>
                    <a:pt x="679" y="2015"/>
                  </a:lnTo>
                  <a:lnTo>
                    <a:pt x="653" y="1989"/>
                  </a:lnTo>
                  <a:lnTo>
                    <a:pt x="632" y="1958"/>
                  </a:lnTo>
                  <a:lnTo>
                    <a:pt x="617" y="1925"/>
                  </a:lnTo>
                  <a:lnTo>
                    <a:pt x="607" y="1889"/>
                  </a:lnTo>
                  <a:lnTo>
                    <a:pt x="604" y="1852"/>
                  </a:lnTo>
                  <a:lnTo>
                    <a:pt x="604" y="1643"/>
                  </a:lnTo>
                  <a:lnTo>
                    <a:pt x="607" y="1604"/>
                  </a:lnTo>
                  <a:lnTo>
                    <a:pt x="617" y="1568"/>
                  </a:lnTo>
                  <a:lnTo>
                    <a:pt x="632" y="1535"/>
                  </a:lnTo>
                  <a:lnTo>
                    <a:pt x="653" y="1505"/>
                  </a:lnTo>
                  <a:lnTo>
                    <a:pt x="679" y="1479"/>
                  </a:lnTo>
                  <a:lnTo>
                    <a:pt x="709" y="1457"/>
                  </a:lnTo>
                  <a:lnTo>
                    <a:pt x="743" y="1441"/>
                  </a:lnTo>
                  <a:lnTo>
                    <a:pt x="779" y="1429"/>
                  </a:lnTo>
                  <a:lnTo>
                    <a:pt x="1123" y="1361"/>
                  </a:lnTo>
                  <a:lnTo>
                    <a:pt x="1147" y="1289"/>
                  </a:lnTo>
                  <a:lnTo>
                    <a:pt x="1176" y="1219"/>
                  </a:lnTo>
                  <a:lnTo>
                    <a:pt x="1210" y="1151"/>
                  </a:lnTo>
                  <a:lnTo>
                    <a:pt x="1015" y="859"/>
                  </a:lnTo>
                  <a:lnTo>
                    <a:pt x="997" y="826"/>
                  </a:lnTo>
                  <a:lnTo>
                    <a:pt x="985" y="791"/>
                  </a:lnTo>
                  <a:lnTo>
                    <a:pt x="979" y="755"/>
                  </a:lnTo>
                  <a:lnTo>
                    <a:pt x="980" y="718"/>
                  </a:lnTo>
                  <a:lnTo>
                    <a:pt x="986" y="682"/>
                  </a:lnTo>
                  <a:lnTo>
                    <a:pt x="998" y="647"/>
                  </a:lnTo>
                  <a:lnTo>
                    <a:pt x="1017" y="615"/>
                  </a:lnTo>
                  <a:lnTo>
                    <a:pt x="1042" y="585"/>
                  </a:lnTo>
                  <a:lnTo>
                    <a:pt x="1190" y="438"/>
                  </a:lnTo>
                  <a:lnTo>
                    <a:pt x="1218" y="414"/>
                  </a:lnTo>
                  <a:lnTo>
                    <a:pt x="1251" y="395"/>
                  </a:lnTo>
                  <a:lnTo>
                    <a:pt x="1285" y="382"/>
                  </a:lnTo>
                  <a:lnTo>
                    <a:pt x="1321" y="375"/>
                  </a:lnTo>
                  <a:lnTo>
                    <a:pt x="1359" y="375"/>
                  </a:lnTo>
                  <a:lnTo>
                    <a:pt x="1395" y="381"/>
                  </a:lnTo>
                  <a:lnTo>
                    <a:pt x="1431" y="392"/>
                  </a:lnTo>
                  <a:lnTo>
                    <a:pt x="1464" y="411"/>
                  </a:lnTo>
                  <a:lnTo>
                    <a:pt x="1755" y="605"/>
                  </a:lnTo>
                  <a:lnTo>
                    <a:pt x="1823" y="572"/>
                  </a:lnTo>
                  <a:lnTo>
                    <a:pt x="1894" y="543"/>
                  </a:lnTo>
                  <a:lnTo>
                    <a:pt x="1965" y="518"/>
                  </a:lnTo>
                  <a:lnTo>
                    <a:pt x="2034" y="175"/>
                  </a:lnTo>
                  <a:lnTo>
                    <a:pt x="2044" y="138"/>
                  </a:lnTo>
                  <a:lnTo>
                    <a:pt x="2061" y="104"/>
                  </a:lnTo>
                  <a:lnTo>
                    <a:pt x="2083" y="75"/>
                  </a:lnTo>
                  <a:lnTo>
                    <a:pt x="2109" y="50"/>
                  </a:lnTo>
                  <a:lnTo>
                    <a:pt x="2140" y="29"/>
                  </a:lnTo>
                  <a:lnTo>
                    <a:pt x="2173" y="14"/>
                  </a:lnTo>
                  <a:lnTo>
                    <a:pt x="2209" y="4"/>
                  </a:lnTo>
                  <a:lnTo>
                    <a:pt x="2246" y="0"/>
                  </a:lnTo>
                  <a:close/>
                </a:path>
              </a:pathLst>
            </a:custGeom>
            <a:solidFill>
              <a:schemeClr val="accent1"/>
            </a:solidFill>
            <a:ln w="0">
              <a:solidFill>
                <a:schemeClr val="tx2">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b="1">
                <a:solidFill>
                  <a:schemeClr val="accent1">
                    <a:lumMod val="60000"/>
                    <a:lumOff val="40000"/>
                  </a:schemeClr>
                </a:solidFill>
              </a:endParaRPr>
            </a:p>
          </p:txBody>
        </p:sp>
      </p:grpSp>
      <p:pic>
        <p:nvPicPr>
          <p:cNvPr id="5" name="Graphic 4" descr="Court with solid fill">
            <a:extLst>
              <a:ext uri="{FF2B5EF4-FFF2-40B4-BE49-F238E27FC236}">
                <a16:creationId xmlns:a16="http://schemas.microsoft.com/office/drawing/2014/main" id="{B633F472-9CFB-338A-DF0F-B7E80C82777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562019" y="1452986"/>
            <a:ext cx="522527" cy="522527"/>
          </a:xfrm>
          <a:prstGeom prst="rect">
            <a:avLst/>
          </a:prstGeom>
        </p:spPr>
      </p:pic>
      <p:sp>
        <p:nvSpPr>
          <p:cNvPr id="8" name="TextBox 7">
            <a:extLst>
              <a:ext uri="{FF2B5EF4-FFF2-40B4-BE49-F238E27FC236}">
                <a16:creationId xmlns:a16="http://schemas.microsoft.com/office/drawing/2014/main" id="{6C90B453-B37B-624E-0B8B-298691C99B88}"/>
              </a:ext>
            </a:extLst>
          </p:cNvPr>
          <p:cNvSpPr txBox="1"/>
          <p:nvPr/>
        </p:nvSpPr>
        <p:spPr>
          <a:xfrm>
            <a:off x="863336" y="676181"/>
            <a:ext cx="10668000" cy="738664"/>
          </a:xfrm>
          <a:prstGeom prst="rect">
            <a:avLst/>
          </a:prstGeom>
          <a:noFill/>
        </p:spPr>
        <p:txBody>
          <a:bodyPr wrap="square" rtlCol="0">
            <a:spAutoFit/>
          </a:bodyPr>
          <a:lstStyle/>
          <a:p>
            <a:r>
              <a:rPr lang="en-US" sz="1400" dirty="0">
                <a:ea typeface="Calibri"/>
                <a:cs typeface="Calibri"/>
              </a:rPr>
              <a:t>The table below outlines the three primary types of facility relocation projects conducted by PGS. PGS works within a wide range of processes to safely relocate facilities in the mandated timeframes. The time from design to construction commencement is often measured in weeks to months.  </a:t>
            </a:r>
            <a:endParaRPr lang="en-US" sz="1400" dirty="0">
              <a:highlight>
                <a:srgbClr val="FFFF00"/>
              </a:highlight>
              <a:ea typeface="Calibri"/>
              <a:cs typeface="Calibri"/>
            </a:endParaRPr>
          </a:p>
        </p:txBody>
      </p:sp>
      <p:sp>
        <p:nvSpPr>
          <p:cNvPr id="12" name="Oval 11">
            <a:extLst>
              <a:ext uri="{FF2B5EF4-FFF2-40B4-BE49-F238E27FC236}">
                <a16:creationId xmlns:a16="http://schemas.microsoft.com/office/drawing/2014/main" id="{CF768372-1F9B-ED29-A207-1D0F7A1E4025}"/>
              </a:ext>
            </a:extLst>
          </p:cNvPr>
          <p:cNvSpPr/>
          <p:nvPr/>
        </p:nvSpPr>
        <p:spPr>
          <a:xfrm>
            <a:off x="9900637" y="1411752"/>
            <a:ext cx="637844" cy="637844"/>
          </a:xfrm>
          <a:prstGeom prst="ellipse">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3B3DD6E9-87D1-986D-0B5A-8F7837E4E413}"/>
              </a:ext>
            </a:extLst>
          </p:cNvPr>
          <p:cNvSpPr/>
          <p:nvPr>
            <p:custDataLst>
              <p:tags r:id="rId1"/>
            </p:custDataLst>
          </p:nvPr>
        </p:nvSpPr>
        <p:spPr>
          <a:xfrm>
            <a:off x="10062952" y="1526187"/>
            <a:ext cx="330188" cy="395322"/>
          </a:xfrm>
          <a:custGeom>
            <a:avLst/>
            <a:gdLst>
              <a:gd name="connsiteX0" fmla="*/ 133350 w 685799"/>
              <a:gd name="connsiteY0" fmla="*/ 533372 h 761972"/>
              <a:gd name="connsiteX1" fmla="*/ 114300 w 685799"/>
              <a:gd name="connsiteY1" fmla="*/ 552422 h 761972"/>
              <a:gd name="connsiteX2" fmla="*/ 133350 w 685799"/>
              <a:gd name="connsiteY2" fmla="*/ 571472 h 761972"/>
              <a:gd name="connsiteX3" fmla="*/ 361950 w 685799"/>
              <a:gd name="connsiteY3" fmla="*/ 571472 h 761972"/>
              <a:gd name="connsiteX4" fmla="*/ 381000 w 685799"/>
              <a:gd name="connsiteY4" fmla="*/ 552422 h 761972"/>
              <a:gd name="connsiteX5" fmla="*/ 361950 w 685799"/>
              <a:gd name="connsiteY5" fmla="*/ 533372 h 761972"/>
              <a:gd name="connsiteX6" fmla="*/ 133350 w 685799"/>
              <a:gd name="connsiteY6" fmla="*/ 419072 h 761972"/>
              <a:gd name="connsiteX7" fmla="*/ 114300 w 685799"/>
              <a:gd name="connsiteY7" fmla="*/ 438122 h 761972"/>
              <a:gd name="connsiteX8" fmla="*/ 133350 w 685799"/>
              <a:gd name="connsiteY8" fmla="*/ 457172 h 761972"/>
              <a:gd name="connsiteX9" fmla="*/ 361950 w 685799"/>
              <a:gd name="connsiteY9" fmla="*/ 457172 h 761972"/>
              <a:gd name="connsiteX10" fmla="*/ 381000 w 685799"/>
              <a:gd name="connsiteY10" fmla="*/ 438122 h 761972"/>
              <a:gd name="connsiteX11" fmla="*/ 361950 w 685799"/>
              <a:gd name="connsiteY11" fmla="*/ 419072 h 761972"/>
              <a:gd name="connsiteX12" fmla="*/ 133350 w 685799"/>
              <a:gd name="connsiteY12" fmla="*/ 304772 h 761972"/>
              <a:gd name="connsiteX13" fmla="*/ 114300 w 685799"/>
              <a:gd name="connsiteY13" fmla="*/ 323822 h 761972"/>
              <a:gd name="connsiteX14" fmla="*/ 133350 w 685799"/>
              <a:gd name="connsiteY14" fmla="*/ 342872 h 761972"/>
              <a:gd name="connsiteX15" fmla="*/ 361950 w 685799"/>
              <a:gd name="connsiteY15" fmla="*/ 342872 h 761972"/>
              <a:gd name="connsiteX16" fmla="*/ 381000 w 685799"/>
              <a:gd name="connsiteY16" fmla="*/ 323822 h 761972"/>
              <a:gd name="connsiteX17" fmla="*/ 361950 w 685799"/>
              <a:gd name="connsiteY17" fmla="*/ 304772 h 761972"/>
              <a:gd name="connsiteX18" fmla="*/ 19050 w 685799"/>
              <a:gd name="connsiteY18" fmla="*/ 152372 h 761972"/>
              <a:gd name="connsiteX19" fmla="*/ 476250 w 685799"/>
              <a:gd name="connsiteY19" fmla="*/ 152372 h 761972"/>
              <a:gd name="connsiteX20" fmla="*/ 476271 w 685799"/>
              <a:gd name="connsiteY20" fmla="*/ 152372 h 761972"/>
              <a:gd name="connsiteX21" fmla="*/ 495300 w 685799"/>
              <a:gd name="connsiteY21" fmla="*/ 171422 h 761972"/>
              <a:gd name="connsiteX22" fmla="*/ 495300 w 685799"/>
              <a:gd name="connsiteY22" fmla="*/ 742922 h 761972"/>
              <a:gd name="connsiteX23" fmla="*/ 495300 w 685799"/>
              <a:gd name="connsiteY23" fmla="*/ 742941 h 761972"/>
              <a:gd name="connsiteX24" fmla="*/ 476250 w 685799"/>
              <a:gd name="connsiteY24" fmla="*/ 761972 h 761972"/>
              <a:gd name="connsiteX25" fmla="*/ 19050 w 685799"/>
              <a:gd name="connsiteY25" fmla="*/ 761972 h 761972"/>
              <a:gd name="connsiteX26" fmla="*/ 19029 w 685799"/>
              <a:gd name="connsiteY26" fmla="*/ 761972 h 761972"/>
              <a:gd name="connsiteX27" fmla="*/ 0 w 685799"/>
              <a:gd name="connsiteY27" fmla="*/ 742922 h 761972"/>
              <a:gd name="connsiteX28" fmla="*/ 0 w 685799"/>
              <a:gd name="connsiteY28" fmla="*/ 171422 h 761972"/>
              <a:gd name="connsiteX29" fmla="*/ 0 w 685799"/>
              <a:gd name="connsiteY29" fmla="*/ 171399 h 761972"/>
              <a:gd name="connsiteX30" fmla="*/ 19050 w 685799"/>
              <a:gd name="connsiteY30" fmla="*/ 152372 h 761972"/>
              <a:gd name="connsiteX31" fmla="*/ 249362 w 685799"/>
              <a:gd name="connsiteY31" fmla="*/ 46 h 761972"/>
              <a:gd name="connsiteX32" fmla="*/ 668474 w 685799"/>
              <a:gd name="connsiteY32" fmla="*/ 38146 h 761972"/>
              <a:gd name="connsiteX33" fmla="*/ 685726 w 685799"/>
              <a:gd name="connsiteY33" fmla="*/ 58778 h 761972"/>
              <a:gd name="connsiteX34" fmla="*/ 636241 w 685799"/>
              <a:gd name="connsiteY34" fmla="*/ 624511 h 761972"/>
              <a:gd name="connsiteX35" fmla="*/ 617265 w 685799"/>
              <a:gd name="connsiteY35" fmla="*/ 641906 h 761972"/>
              <a:gd name="connsiteX36" fmla="*/ 613953 w 685799"/>
              <a:gd name="connsiteY36" fmla="*/ 641608 h 761972"/>
              <a:gd name="connsiteX37" fmla="*/ 533400 w 685799"/>
              <a:gd name="connsiteY37" fmla="*/ 627406 h 761972"/>
              <a:gd name="connsiteX38" fmla="*/ 533400 w 685799"/>
              <a:gd name="connsiteY38" fmla="*/ 133322 h 761972"/>
              <a:gd name="connsiteX39" fmla="*/ 514350 w 685799"/>
              <a:gd name="connsiteY39" fmla="*/ 114272 h 761972"/>
              <a:gd name="connsiteX40" fmla="*/ 218843 w 685799"/>
              <a:gd name="connsiteY40" fmla="*/ 114272 h 761972"/>
              <a:gd name="connsiteX41" fmla="*/ 228712 w 685799"/>
              <a:gd name="connsiteY41" fmla="*/ 17106 h 761972"/>
              <a:gd name="connsiteX42" fmla="*/ 249362 w 685799"/>
              <a:gd name="connsiteY42" fmla="*/ 46 h 76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85799" h="761972">
                <a:moveTo>
                  <a:pt x="133350" y="533372"/>
                </a:moveTo>
                <a:cubicBezTo>
                  <a:pt x="122829" y="533372"/>
                  <a:pt x="114300" y="541901"/>
                  <a:pt x="114300" y="552422"/>
                </a:cubicBezTo>
                <a:cubicBezTo>
                  <a:pt x="114300" y="562943"/>
                  <a:pt x="122829" y="571472"/>
                  <a:pt x="133350" y="571472"/>
                </a:cubicBezTo>
                <a:lnTo>
                  <a:pt x="361950" y="571472"/>
                </a:lnTo>
                <a:cubicBezTo>
                  <a:pt x="372471" y="571472"/>
                  <a:pt x="381000" y="562943"/>
                  <a:pt x="381000" y="552422"/>
                </a:cubicBezTo>
                <a:cubicBezTo>
                  <a:pt x="381000" y="541901"/>
                  <a:pt x="372471" y="533372"/>
                  <a:pt x="361950" y="533372"/>
                </a:cubicBezTo>
                <a:close/>
                <a:moveTo>
                  <a:pt x="133350" y="419072"/>
                </a:moveTo>
                <a:cubicBezTo>
                  <a:pt x="122829" y="419072"/>
                  <a:pt x="114300" y="427601"/>
                  <a:pt x="114300" y="438122"/>
                </a:cubicBezTo>
                <a:cubicBezTo>
                  <a:pt x="114300" y="448643"/>
                  <a:pt x="122829" y="457172"/>
                  <a:pt x="133350" y="457172"/>
                </a:cubicBezTo>
                <a:lnTo>
                  <a:pt x="361950" y="457172"/>
                </a:lnTo>
                <a:cubicBezTo>
                  <a:pt x="372471" y="457172"/>
                  <a:pt x="381000" y="448643"/>
                  <a:pt x="381000" y="438122"/>
                </a:cubicBezTo>
                <a:cubicBezTo>
                  <a:pt x="381000" y="427601"/>
                  <a:pt x="372471" y="419072"/>
                  <a:pt x="361950" y="419072"/>
                </a:cubicBezTo>
                <a:close/>
                <a:moveTo>
                  <a:pt x="133350" y="304772"/>
                </a:moveTo>
                <a:cubicBezTo>
                  <a:pt x="122829" y="304772"/>
                  <a:pt x="114300" y="313301"/>
                  <a:pt x="114300" y="323822"/>
                </a:cubicBezTo>
                <a:cubicBezTo>
                  <a:pt x="114300" y="334343"/>
                  <a:pt x="122829" y="342872"/>
                  <a:pt x="133350" y="342872"/>
                </a:cubicBezTo>
                <a:lnTo>
                  <a:pt x="361950" y="342872"/>
                </a:lnTo>
                <a:cubicBezTo>
                  <a:pt x="372471" y="342872"/>
                  <a:pt x="381000" y="334343"/>
                  <a:pt x="381000" y="323822"/>
                </a:cubicBezTo>
                <a:cubicBezTo>
                  <a:pt x="381000" y="313301"/>
                  <a:pt x="372471" y="304772"/>
                  <a:pt x="361950" y="304772"/>
                </a:cubicBezTo>
                <a:close/>
                <a:moveTo>
                  <a:pt x="19050" y="152372"/>
                </a:moveTo>
                <a:lnTo>
                  <a:pt x="476250" y="152372"/>
                </a:lnTo>
                <a:cubicBezTo>
                  <a:pt x="476257" y="152372"/>
                  <a:pt x="476264" y="152372"/>
                  <a:pt x="476271" y="152372"/>
                </a:cubicBezTo>
                <a:cubicBezTo>
                  <a:pt x="486787" y="152378"/>
                  <a:pt x="495306" y="160906"/>
                  <a:pt x="495300" y="171422"/>
                </a:cubicBezTo>
                <a:lnTo>
                  <a:pt x="495300" y="742922"/>
                </a:lnTo>
                <a:cubicBezTo>
                  <a:pt x="495300" y="742929"/>
                  <a:pt x="495300" y="742934"/>
                  <a:pt x="495300" y="742941"/>
                </a:cubicBezTo>
                <a:cubicBezTo>
                  <a:pt x="495294" y="753457"/>
                  <a:pt x="486766" y="761977"/>
                  <a:pt x="476250" y="761972"/>
                </a:cubicBezTo>
                <a:lnTo>
                  <a:pt x="19050" y="761972"/>
                </a:lnTo>
                <a:cubicBezTo>
                  <a:pt x="19043" y="761972"/>
                  <a:pt x="19036" y="761972"/>
                  <a:pt x="19029" y="761972"/>
                </a:cubicBezTo>
                <a:cubicBezTo>
                  <a:pt x="8513" y="761966"/>
                  <a:pt x="-6" y="753438"/>
                  <a:pt x="0" y="742922"/>
                </a:cubicBezTo>
                <a:lnTo>
                  <a:pt x="0" y="171422"/>
                </a:lnTo>
                <a:cubicBezTo>
                  <a:pt x="0" y="171414"/>
                  <a:pt x="0" y="171407"/>
                  <a:pt x="0" y="171399"/>
                </a:cubicBezTo>
                <a:cubicBezTo>
                  <a:pt x="7" y="160884"/>
                  <a:pt x="8535" y="152365"/>
                  <a:pt x="19050" y="152372"/>
                </a:cubicBezTo>
                <a:close/>
                <a:moveTo>
                  <a:pt x="249362" y="46"/>
                </a:moveTo>
                <a:lnTo>
                  <a:pt x="668474" y="38146"/>
                </a:lnTo>
                <a:cubicBezTo>
                  <a:pt x="678926" y="39097"/>
                  <a:pt x="686641" y="48323"/>
                  <a:pt x="685726" y="58778"/>
                </a:cubicBezTo>
                <a:lnTo>
                  <a:pt x="636241" y="624511"/>
                </a:lnTo>
                <a:cubicBezTo>
                  <a:pt x="635386" y="634353"/>
                  <a:pt x="627145" y="641908"/>
                  <a:pt x="617265" y="641906"/>
                </a:cubicBezTo>
                <a:cubicBezTo>
                  <a:pt x="616155" y="641909"/>
                  <a:pt x="615046" y="641809"/>
                  <a:pt x="613953" y="641608"/>
                </a:cubicBezTo>
                <a:lnTo>
                  <a:pt x="533400" y="627406"/>
                </a:lnTo>
                <a:lnTo>
                  <a:pt x="533400" y="133322"/>
                </a:lnTo>
                <a:cubicBezTo>
                  <a:pt x="533400" y="122801"/>
                  <a:pt x="524872" y="114272"/>
                  <a:pt x="514350" y="114272"/>
                </a:cubicBezTo>
                <a:lnTo>
                  <a:pt x="218843" y="114272"/>
                </a:lnTo>
                <a:lnTo>
                  <a:pt x="228712" y="17106"/>
                </a:lnTo>
                <a:cubicBezTo>
                  <a:pt x="229964" y="6833"/>
                  <a:pt x="239038" y="-662"/>
                  <a:pt x="249362" y="46"/>
                </a:cubicBezTo>
                <a:close/>
              </a:path>
            </a:pathLst>
          </a:custGeom>
          <a:solidFill>
            <a:schemeClr val="accent1"/>
          </a:solidFill>
          <a:ln w="9525" cap="flat">
            <a:noFill/>
            <a:prstDash val="solid"/>
            <a:miter/>
          </a:ln>
        </p:spPr>
        <p:txBody>
          <a:bodyPr rtlCol="0" anchor="ctr"/>
          <a:lstStyle/>
          <a:p>
            <a:pPr defTabSz="685800">
              <a:defRPr/>
            </a:pPr>
            <a:endParaRPr lang="en-US" sz="1350">
              <a:solidFill>
                <a:prstClr val="black"/>
              </a:solidFill>
              <a:latin typeface="Arial" panose="020B0604020202020204"/>
            </a:endParaRPr>
          </a:p>
        </p:txBody>
      </p:sp>
      <p:sp>
        <p:nvSpPr>
          <p:cNvPr id="13" name="TextBox 12">
            <a:extLst>
              <a:ext uri="{FF2B5EF4-FFF2-40B4-BE49-F238E27FC236}">
                <a16:creationId xmlns:a16="http://schemas.microsoft.com/office/drawing/2014/main" id="{248A18CB-4915-D74C-E820-4853F4A0957E}"/>
              </a:ext>
            </a:extLst>
          </p:cNvPr>
          <p:cNvSpPr txBox="1"/>
          <p:nvPr/>
        </p:nvSpPr>
        <p:spPr>
          <a:xfrm>
            <a:off x="6584938" y="2162622"/>
            <a:ext cx="1915653" cy="307777"/>
          </a:xfrm>
          <a:prstGeom prst="rect">
            <a:avLst/>
          </a:prstGeom>
          <a:noFill/>
        </p:spPr>
        <p:txBody>
          <a:bodyPr wrap="square" rtlCol="0">
            <a:spAutoFit/>
          </a:bodyPr>
          <a:lstStyle/>
          <a:p>
            <a:pPr algn="ctr"/>
            <a:r>
              <a:rPr lang="en-US" sz="1400" b="1" dirty="0">
                <a:solidFill>
                  <a:schemeClr val="bg2"/>
                </a:solidFill>
                <a:latin typeface="Arial" panose="020B0604020202020204" pitchFamily="34" charset="0"/>
                <a:cs typeface="Arial" panose="020B0604020202020204" pitchFamily="34" charset="0"/>
              </a:rPr>
              <a:t>Notification Timing</a:t>
            </a:r>
          </a:p>
        </p:txBody>
      </p:sp>
      <p:sp>
        <p:nvSpPr>
          <p:cNvPr id="14" name="TextBox 13">
            <a:extLst>
              <a:ext uri="{FF2B5EF4-FFF2-40B4-BE49-F238E27FC236}">
                <a16:creationId xmlns:a16="http://schemas.microsoft.com/office/drawing/2014/main" id="{0D778B25-F536-675E-F7BE-8058149B1DE3}"/>
              </a:ext>
            </a:extLst>
          </p:cNvPr>
          <p:cNvSpPr txBox="1"/>
          <p:nvPr/>
        </p:nvSpPr>
        <p:spPr>
          <a:xfrm>
            <a:off x="9537263" y="2173573"/>
            <a:ext cx="1624163" cy="307777"/>
          </a:xfrm>
          <a:prstGeom prst="rect">
            <a:avLst/>
          </a:prstGeom>
          <a:noFill/>
        </p:spPr>
        <p:txBody>
          <a:bodyPr wrap="square" rtlCol="0">
            <a:spAutoFit/>
          </a:bodyPr>
          <a:lstStyle/>
          <a:p>
            <a:pPr algn="ctr"/>
            <a:r>
              <a:rPr lang="en-US" sz="1400" b="1" dirty="0">
                <a:solidFill>
                  <a:schemeClr val="bg2"/>
                </a:solidFill>
                <a:latin typeface="Arial" panose="020B0604020202020204" pitchFamily="34" charset="0"/>
                <a:cs typeface="Arial" panose="020B0604020202020204" pitchFamily="34" charset="0"/>
              </a:rPr>
              <a:t>Project Schedule</a:t>
            </a:r>
          </a:p>
        </p:txBody>
      </p:sp>
      <p:pic>
        <p:nvPicPr>
          <p:cNvPr id="60" name="Picture 59">
            <a:extLst>
              <a:ext uri="{FF2B5EF4-FFF2-40B4-BE49-F238E27FC236}">
                <a16:creationId xmlns:a16="http://schemas.microsoft.com/office/drawing/2014/main" id="{242C844A-43BB-C4D3-06CF-0A8E6EF2F4A1}"/>
              </a:ext>
            </a:extLst>
          </p:cNvPr>
          <p:cNvPicPr>
            <a:picLocks noChangeAspect="1"/>
          </p:cNvPicPr>
          <p:nvPr/>
        </p:nvPicPr>
        <p:blipFill>
          <a:blip r:embed="rId6"/>
          <a:stretch>
            <a:fillRect/>
          </a:stretch>
        </p:blipFill>
        <p:spPr>
          <a:xfrm>
            <a:off x="880272" y="5784484"/>
            <a:ext cx="3685898" cy="989519"/>
          </a:xfrm>
          <a:prstGeom prst="rect">
            <a:avLst/>
          </a:prstGeom>
        </p:spPr>
      </p:pic>
      <p:pic>
        <p:nvPicPr>
          <p:cNvPr id="61" name="Picture 60" descr="A blue and red logo&#10;&#10;Description automatically generated">
            <a:extLst>
              <a:ext uri="{FF2B5EF4-FFF2-40B4-BE49-F238E27FC236}">
                <a16:creationId xmlns:a16="http://schemas.microsoft.com/office/drawing/2014/main" id="{8CEC801A-F4BA-1FBB-3257-D4975278725A}"/>
              </a:ext>
            </a:extLst>
          </p:cNvPr>
          <p:cNvPicPr>
            <a:picLocks noChangeAspect="1"/>
          </p:cNvPicPr>
          <p:nvPr/>
        </p:nvPicPr>
        <p:blipFill>
          <a:blip r:embed="rId7"/>
          <a:stretch>
            <a:fillRect/>
          </a:stretch>
        </p:blipFill>
        <p:spPr>
          <a:xfrm>
            <a:off x="1763782" y="2834116"/>
            <a:ext cx="959439" cy="466435"/>
          </a:xfrm>
          <a:prstGeom prst="rect">
            <a:avLst/>
          </a:prstGeom>
        </p:spPr>
      </p:pic>
      <p:pic>
        <p:nvPicPr>
          <p:cNvPr id="62" name="Picture 61" descr="A logo of an orange&#10;&#10;Description automatically generated">
            <a:extLst>
              <a:ext uri="{FF2B5EF4-FFF2-40B4-BE49-F238E27FC236}">
                <a16:creationId xmlns:a16="http://schemas.microsoft.com/office/drawing/2014/main" id="{D013D449-E0CC-5BD8-07C7-78131EC5316A}"/>
              </a:ext>
            </a:extLst>
          </p:cNvPr>
          <p:cNvPicPr>
            <a:picLocks noChangeAspect="1"/>
          </p:cNvPicPr>
          <p:nvPr/>
        </p:nvPicPr>
        <p:blipFill>
          <a:blip r:embed="rId8"/>
          <a:stretch>
            <a:fillRect/>
          </a:stretch>
        </p:blipFill>
        <p:spPr>
          <a:xfrm>
            <a:off x="1662261" y="3612960"/>
            <a:ext cx="933258" cy="558089"/>
          </a:xfrm>
          <a:prstGeom prst="rect">
            <a:avLst/>
          </a:prstGeom>
        </p:spPr>
      </p:pic>
      <p:pic>
        <p:nvPicPr>
          <p:cNvPr id="63" name="Picture 62" descr="A seal and text on a white background&#10;&#10;Description automatically generated">
            <a:extLst>
              <a:ext uri="{FF2B5EF4-FFF2-40B4-BE49-F238E27FC236}">
                <a16:creationId xmlns:a16="http://schemas.microsoft.com/office/drawing/2014/main" id="{15AFC47D-E53D-E380-7D37-A3422F25871C}"/>
              </a:ext>
            </a:extLst>
          </p:cNvPr>
          <p:cNvPicPr>
            <a:picLocks noChangeAspect="1"/>
          </p:cNvPicPr>
          <p:nvPr/>
        </p:nvPicPr>
        <p:blipFill>
          <a:blip r:embed="rId9"/>
          <a:stretch>
            <a:fillRect/>
          </a:stretch>
        </p:blipFill>
        <p:spPr>
          <a:xfrm>
            <a:off x="1699781" y="4460872"/>
            <a:ext cx="1005896" cy="492624"/>
          </a:xfrm>
          <a:prstGeom prst="rect">
            <a:avLst/>
          </a:prstGeom>
        </p:spPr>
      </p:pic>
      <p:sp>
        <p:nvSpPr>
          <p:cNvPr id="64" name="TextBox 63">
            <a:extLst>
              <a:ext uri="{FF2B5EF4-FFF2-40B4-BE49-F238E27FC236}">
                <a16:creationId xmlns:a16="http://schemas.microsoft.com/office/drawing/2014/main" id="{AA298323-C5FE-D6B3-A36E-B25DB4C70D2E}"/>
              </a:ext>
            </a:extLst>
          </p:cNvPr>
          <p:cNvSpPr txBox="1"/>
          <p:nvPr/>
        </p:nvSpPr>
        <p:spPr>
          <a:xfrm>
            <a:off x="798666" y="2616571"/>
            <a:ext cx="1406978" cy="307777"/>
          </a:xfrm>
          <a:prstGeom prst="rect">
            <a:avLst/>
          </a:prstGeom>
          <a:noFill/>
        </p:spPr>
        <p:txBody>
          <a:bodyPr wrap="square" rtlCol="0">
            <a:spAutoFit/>
          </a:bodyPr>
          <a:lstStyle/>
          <a:p>
            <a:r>
              <a:rPr lang="en-US" sz="1400" b="1" dirty="0"/>
              <a:t>State of Florida</a:t>
            </a:r>
          </a:p>
        </p:txBody>
      </p:sp>
      <p:sp>
        <p:nvSpPr>
          <p:cNvPr id="65" name="TextBox 64">
            <a:extLst>
              <a:ext uri="{FF2B5EF4-FFF2-40B4-BE49-F238E27FC236}">
                <a16:creationId xmlns:a16="http://schemas.microsoft.com/office/drawing/2014/main" id="{D8448296-2493-3A37-943A-235F30E9E87B}"/>
              </a:ext>
            </a:extLst>
          </p:cNvPr>
          <p:cNvSpPr txBox="1"/>
          <p:nvPr/>
        </p:nvSpPr>
        <p:spPr>
          <a:xfrm>
            <a:off x="785908" y="3592690"/>
            <a:ext cx="1406978" cy="307777"/>
          </a:xfrm>
          <a:prstGeom prst="rect">
            <a:avLst/>
          </a:prstGeom>
          <a:noFill/>
        </p:spPr>
        <p:txBody>
          <a:bodyPr wrap="square" rtlCol="0">
            <a:spAutoFit/>
          </a:bodyPr>
          <a:lstStyle/>
          <a:p>
            <a:r>
              <a:rPr lang="en-US" sz="1400" b="1" dirty="0"/>
              <a:t>Counties</a:t>
            </a:r>
          </a:p>
        </p:txBody>
      </p:sp>
      <p:sp>
        <p:nvSpPr>
          <p:cNvPr id="66" name="TextBox 65">
            <a:extLst>
              <a:ext uri="{FF2B5EF4-FFF2-40B4-BE49-F238E27FC236}">
                <a16:creationId xmlns:a16="http://schemas.microsoft.com/office/drawing/2014/main" id="{7AA62A46-0F13-0A61-EEDB-4AD0BCFE1343}"/>
              </a:ext>
            </a:extLst>
          </p:cNvPr>
          <p:cNvSpPr txBox="1"/>
          <p:nvPr/>
        </p:nvSpPr>
        <p:spPr>
          <a:xfrm>
            <a:off x="795751" y="4523181"/>
            <a:ext cx="1406978" cy="307777"/>
          </a:xfrm>
          <a:prstGeom prst="rect">
            <a:avLst/>
          </a:prstGeom>
          <a:noFill/>
        </p:spPr>
        <p:txBody>
          <a:bodyPr wrap="square" rtlCol="0">
            <a:spAutoFit/>
          </a:bodyPr>
          <a:lstStyle/>
          <a:p>
            <a:r>
              <a:rPr lang="en-US" sz="1400" b="1" dirty="0"/>
              <a:t>Cities </a:t>
            </a:r>
          </a:p>
        </p:txBody>
      </p:sp>
      <p:sp>
        <p:nvSpPr>
          <p:cNvPr id="67" name="TextBox 66">
            <a:extLst>
              <a:ext uri="{FF2B5EF4-FFF2-40B4-BE49-F238E27FC236}">
                <a16:creationId xmlns:a16="http://schemas.microsoft.com/office/drawing/2014/main" id="{9841F7FE-B88B-C100-3457-32A51C294483}"/>
              </a:ext>
            </a:extLst>
          </p:cNvPr>
          <p:cNvSpPr txBox="1"/>
          <p:nvPr/>
        </p:nvSpPr>
        <p:spPr>
          <a:xfrm>
            <a:off x="6584938" y="2652270"/>
            <a:ext cx="2446980" cy="461665"/>
          </a:xfrm>
          <a:prstGeom prst="rect">
            <a:avLst/>
          </a:prstGeom>
          <a:noFill/>
        </p:spPr>
        <p:txBody>
          <a:bodyPr wrap="square" rtlCol="0">
            <a:spAutoFit/>
          </a:bodyPr>
          <a:lstStyle/>
          <a:p>
            <a:r>
              <a:rPr lang="en-US" sz="1200" dirty="0"/>
              <a:t>Notification occurs at 60-90% of the Design Phase.</a:t>
            </a:r>
          </a:p>
        </p:txBody>
      </p:sp>
      <p:sp>
        <p:nvSpPr>
          <p:cNvPr id="68" name="TextBox 67">
            <a:extLst>
              <a:ext uri="{FF2B5EF4-FFF2-40B4-BE49-F238E27FC236}">
                <a16:creationId xmlns:a16="http://schemas.microsoft.com/office/drawing/2014/main" id="{1AAF4164-CA73-9062-E74A-786A6EE68C9D}"/>
              </a:ext>
            </a:extLst>
          </p:cNvPr>
          <p:cNvSpPr txBox="1"/>
          <p:nvPr/>
        </p:nvSpPr>
        <p:spPr>
          <a:xfrm>
            <a:off x="6584938" y="3591670"/>
            <a:ext cx="2920358" cy="646331"/>
          </a:xfrm>
          <a:prstGeom prst="rect">
            <a:avLst/>
          </a:prstGeom>
          <a:noFill/>
        </p:spPr>
        <p:txBody>
          <a:bodyPr wrap="square" rtlCol="0">
            <a:spAutoFit/>
          </a:bodyPr>
          <a:lstStyle/>
          <a:p>
            <a:r>
              <a:rPr lang="en-US" sz="1200" dirty="0"/>
              <a:t>Varied and typically depends upon the size of the county.</a:t>
            </a:r>
          </a:p>
          <a:p>
            <a:r>
              <a:rPr lang="en-US" sz="1200" dirty="0"/>
              <a:t>Weeks to Months.</a:t>
            </a:r>
          </a:p>
        </p:txBody>
      </p:sp>
      <p:sp>
        <p:nvSpPr>
          <p:cNvPr id="69" name="TextBox 68">
            <a:extLst>
              <a:ext uri="{FF2B5EF4-FFF2-40B4-BE49-F238E27FC236}">
                <a16:creationId xmlns:a16="http://schemas.microsoft.com/office/drawing/2014/main" id="{947D2738-3100-E826-C299-9EA98A0C7FB9}"/>
              </a:ext>
            </a:extLst>
          </p:cNvPr>
          <p:cNvSpPr txBox="1"/>
          <p:nvPr/>
        </p:nvSpPr>
        <p:spPr>
          <a:xfrm>
            <a:off x="6584938" y="4524966"/>
            <a:ext cx="2645493" cy="1015663"/>
          </a:xfrm>
          <a:prstGeom prst="rect">
            <a:avLst/>
          </a:prstGeom>
          <a:noFill/>
        </p:spPr>
        <p:txBody>
          <a:bodyPr wrap="square" rtlCol="0">
            <a:spAutoFit/>
          </a:bodyPr>
          <a:lstStyle/>
          <a:p>
            <a:r>
              <a:rPr lang="en-US" sz="1200" dirty="0"/>
              <a:t>PGS usually receives limited advance notice. Often, PGS is notified after the design is complete or when locates are called in, which is typically days before construction begins.</a:t>
            </a:r>
          </a:p>
        </p:txBody>
      </p:sp>
      <p:sp>
        <p:nvSpPr>
          <p:cNvPr id="71" name="TextBox 70">
            <a:extLst>
              <a:ext uri="{FF2B5EF4-FFF2-40B4-BE49-F238E27FC236}">
                <a16:creationId xmlns:a16="http://schemas.microsoft.com/office/drawing/2014/main" id="{9B1CF635-9AF9-0E83-C964-26E21191D48A}"/>
              </a:ext>
            </a:extLst>
          </p:cNvPr>
          <p:cNvSpPr txBox="1"/>
          <p:nvPr/>
        </p:nvSpPr>
        <p:spPr>
          <a:xfrm>
            <a:off x="9520734" y="3612960"/>
            <a:ext cx="1814195" cy="461665"/>
          </a:xfrm>
          <a:prstGeom prst="rect">
            <a:avLst/>
          </a:prstGeom>
          <a:noFill/>
        </p:spPr>
        <p:txBody>
          <a:bodyPr wrap="square" rtlCol="0">
            <a:spAutoFit/>
          </a:bodyPr>
          <a:lstStyle/>
          <a:p>
            <a:pPr marR="0" lvl="0" algn="l" defTabSz="914377" rtl="0" eaLnBrk="1" fontAlgn="auto" latinLnBrk="0" hangingPunct="1">
              <a:lnSpc>
                <a:spcPct val="100000"/>
              </a:lnSpc>
              <a:spcBef>
                <a:spcPts val="0"/>
              </a:spcBef>
              <a:spcAft>
                <a:spcPts val="0"/>
              </a:spcAft>
              <a:buClrTx/>
              <a:buSzTx/>
              <a:tabLst/>
              <a:defRPr/>
            </a:pPr>
            <a:r>
              <a:rPr lang="en-US" sz="1200" dirty="0"/>
              <a:t>Formal or informal, depending on the County</a:t>
            </a:r>
            <a:endParaRPr lang="en-US" sz="2400" b="0" i="0" u="none" strike="noStrike" kern="1200" baseline="0" dirty="0">
              <a:solidFill>
                <a:schemeClr val="dk1"/>
              </a:solidFill>
              <a:latin typeface="+mn-lt"/>
              <a:ea typeface="+mn-ea"/>
              <a:cs typeface="+mn-cs"/>
            </a:endParaRPr>
          </a:p>
        </p:txBody>
      </p:sp>
      <p:sp>
        <p:nvSpPr>
          <p:cNvPr id="72" name="TextBox 71">
            <a:extLst>
              <a:ext uri="{FF2B5EF4-FFF2-40B4-BE49-F238E27FC236}">
                <a16:creationId xmlns:a16="http://schemas.microsoft.com/office/drawing/2014/main" id="{2A88AE94-F434-E960-EC84-B4B021462798}"/>
              </a:ext>
            </a:extLst>
          </p:cNvPr>
          <p:cNvSpPr txBox="1"/>
          <p:nvPr/>
        </p:nvSpPr>
        <p:spPr>
          <a:xfrm>
            <a:off x="9493614" y="4527918"/>
            <a:ext cx="1711460" cy="276999"/>
          </a:xfrm>
          <a:prstGeom prst="rect">
            <a:avLst/>
          </a:prstGeom>
          <a:noFill/>
        </p:spPr>
        <p:txBody>
          <a:bodyPr wrap="square" rtlCol="0">
            <a:spAutoFit/>
          </a:bodyPr>
          <a:lstStyle/>
          <a:p>
            <a:pPr marR="0" lvl="0" algn="l" defTabSz="914377" rtl="0" eaLnBrk="1" fontAlgn="auto" latinLnBrk="0" hangingPunct="1">
              <a:lnSpc>
                <a:spcPct val="100000"/>
              </a:lnSpc>
              <a:spcBef>
                <a:spcPts val="0"/>
              </a:spcBef>
              <a:spcAft>
                <a:spcPts val="0"/>
              </a:spcAft>
              <a:buClrTx/>
              <a:buSzTx/>
              <a:tabLst/>
              <a:defRPr/>
            </a:pPr>
            <a:r>
              <a:rPr lang="en-US" sz="1200" dirty="0"/>
              <a:t>Typically, informal</a:t>
            </a:r>
            <a:endParaRPr lang="en-US" sz="2400" b="0" i="0" u="none" strike="noStrike" kern="1200" baseline="0" dirty="0">
              <a:solidFill>
                <a:schemeClr val="dk1"/>
              </a:solidFill>
              <a:latin typeface="+mn-lt"/>
              <a:ea typeface="+mn-ea"/>
              <a:cs typeface="+mn-cs"/>
            </a:endParaRPr>
          </a:p>
        </p:txBody>
      </p:sp>
      <p:sp>
        <p:nvSpPr>
          <p:cNvPr id="73" name="TextBox 72">
            <a:extLst>
              <a:ext uri="{FF2B5EF4-FFF2-40B4-BE49-F238E27FC236}">
                <a16:creationId xmlns:a16="http://schemas.microsoft.com/office/drawing/2014/main" id="{53DD8452-FF88-DAF8-B1C0-3E72B3B850ED}"/>
              </a:ext>
            </a:extLst>
          </p:cNvPr>
          <p:cNvSpPr txBox="1"/>
          <p:nvPr/>
        </p:nvSpPr>
        <p:spPr>
          <a:xfrm>
            <a:off x="3568779" y="2652270"/>
            <a:ext cx="2645493" cy="646331"/>
          </a:xfrm>
          <a:prstGeom prst="rect">
            <a:avLst/>
          </a:prstGeom>
          <a:noFill/>
        </p:spPr>
        <p:txBody>
          <a:bodyPr wrap="square" rtlCol="0">
            <a:spAutoFit/>
          </a:bodyPr>
          <a:lstStyle/>
          <a:p>
            <a:r>
              <a:rPr lang="en-US" sz="1200" dirty="0"/>
              <a:t>Provided a formal Notice to Proceed Letter &amp; Executed Utility Work Schedule</a:t>
            </a:r>
          </a:p>
        </p:txBody>
      </p:sp>
      <p:sp>
        <p:nvSpPr>
          <p:cNvPr id="74" name="TextBox 73">
            <a:extLst>
              <a:ext uri="{FF2B5EF4-FFF2-40B4-BE49-F238E27FC236}">
                <a16:creationId xmlns:a16="http://schemas.microsoft.com/office/drawing/2014/main" id="{6889B2DE-4C92-FDFF-7387-479F9C415A00}"/>
              </a:ext>
            </a:extLst>
          </p:cNvPr>
          <p:cNvSpPr txBox="1"/>
          <p:nvPr/>
        </p:nvSpPr>
        <p:spPr>
          <a:xfrm>
            <a:off x="3513950" y="3641916"/>
            <a:ext cx="2645493" cy="461665"/>
          </a:xfrm>
          <a:prstGeom prst="rect">
            <a:avLst/>
          </a:prstGeom>
          <a:noFill/>
        </p:spPr>
        <p:txBody>
          <a:bodyPr wrap="square" rtlCol="0">
            <a:spAutoFit/>
          </a:bodyPr>
          <a:lstStyle/>
          <a:p>
            <a:r>
              <a:rPr lang="en-US" sz="1200" dirty="0"/>
              <a:t>PGS may be provided a formal letter or an informal email</a:t>
            </a:r>
          </a:p>
        </p:txBody>
      </p:sp>
      <p:sp>
        <p:nvSpPr>
          <p:cNvPr id="75" name="TextBox 74">
            <a:extLst>
              <a:ext uri="{FF2B5EF4-FFF2-40B4-BE49-F238E27FC236}">
                <a16:creationId xmlns:a16="http://schemas.microsoft.com/office/drawing/2014/main" id="{4B047D8E-47AE-86EE-C21C-B9D3ADD4F2D0}"/>
              </a:ext>
            </a:extLst>
          </p:cNvPr>
          <p:cNvSpPr txBox="1"/>
          <p:nvPr/>
        </p:nvSpPr>
        <p:spPr>
          <a:xfrm>
            <a:off x="3531497" y="4546708"/>
            <a:ext cx="2645493" cy="461665"/>
          </a:xfrm>
          <a:prstGeom prst="rect">
            <a:avLst/>
          </a:prstGeom>
          <a:noFill/>
        </p:spPr>
        <p:txBody>
          <a:bodyPr wrap="square" rtlCol="0">
            <a:spAutoFit/>
          </a:bodyPr>
          <a:lstStyle/>
          <a:p>
            <a:r>
              <a:rPr lang="en-US" sz="1200" dirty="0"/>
              <a:t>PGS often receives informal notice via email notification or phone call</a:t>
            </a:r>
          </a:p>
        </p:txBody>
      </p:sp>
      <p:pic>
        <p:nvPicPr>
          <p:cNvPr id="76" name="Picture 75">
            <a:extLst>
              <a:ext uri="{FF2B5EF4-FFF2-40B4-BE49-F238E27FC236}">
                <a16:creationId xmlns:a16="http://schemas.microsoft.com/office/drawing/2014/main" id="{B1C5A9BA-B270-4852-E714-D8FA047172C5}"/>
              </a:ext>
            </a:extLst>
          </p:cNvPr>
          <p:cNvPicPr>
            <a:picLocks noChangeAspect="1"/>
          </p:cNvPicPr>
          <p:nvPr/>
        </p:nvPicPr>
        <p:blipFill>
          <a:blip r:embed="rId10"/>
          <a:stretch>
            <a:fillRect/>
          </a:stretch>
        </p:blipFill>
        <p:spPr>
          <a:xfrm>
            <a:off x="4692125" y="5780761"/>
            <a:ext cx="1505211" cy="1077239"/>
          </a:xfrm>
          <a:prstGeom prst="rect">
            <a:avLst/>
          </a:prstGeom>
          <a:ln>
            <a:noFill/>
          </a:ln>
        </p:spPr>
      </p:pic>
      <p:pic>
        <p:nvPicPr>
          <p:cNvPr id="77" name="Picture 76" descr="A diagram of a road with cars&#10;&#10;Description automatically generated">
            <a:extLst>
              <a:ext uri="{FF2B5EF4-FFF2-40B4-BE49-F238E27FC236}">
                <a16:creationId xmlns:a16="http://schemas.microsoft.com/office/drawing/2014/main" id="{3F0CDA4C-E163-911B-368B-8F5175ACA97C}"/>
              </a:ext>
            </a:extLst>
          </p:cNvPr>
          <p:cNvPicPr>
            <a:picLocks noChangeAspect="1"/>
          </p:cNvPicPr>
          <p:nvPr/>
        </p:nvPicPr>
        <p:blipFill>
          <a:blip r:embed="rId11"/>
          <a:srcRect l="2214" t="36792" r="369" b="-1270"/>
          <a:stretch/>
        </p:blipFill>
        <p:spPr>
          <a:xfrm>
            <a:off x="6238184" y="5784484"/>
            <a:ext cx="3949160" cy="1029384"/>
          </a:xfrm>
          <a:prstGeom prst="rect">
            <a:avLst/>
          </a:prstGeom>
          <a:ln>
            <a:noFill/>
          </a:ln>
        </p:spPr>
      </p:pic>
      <p:sp>
        <p:nvSpPr>
          <p:cNvPr id="2" name="TextBox 1">
            <a:extLst>
              <a:ext uri="{FF2B5EF4-FFF2-40B4-BE49-F238E27FC236}">
                <a16:creationId xmlns:a16="http://schemas.microsoft.com/office/drawing/2014/main" id="{BF0681BD-4B94-9CF9-600B-8816AFA13732}"/>
              </a:ext>
            </a:extLst>
          </p:cNvPr>
          <p:cNvSpPr txBox="1"/>
          <p:nvPr/>
        </p:nvSpPr>
        <p:spPr>
          <a:xfrm>
            <a:off x="9505844" y="2626299"/>
            <a:ext cx="1814195" cy="276999"/>
          </a:xfrm>
          <a:prstGeom prst="rect">
            <a:avLst/>
          </a:prstGeom>
          <a:noFill/>
        </p:spPr>
        <p:txBody>
          <a:bodyPr wrap="square" rtlCol="0">
            <a:spAutoFit/>
          </a:bodyPr>
          <a:lstStyle/>
          <a:p>
            <a:pPr marR="0" lvl="0" algn="l" defTabSz="914377" rtl="0" eaLnBrk="1" fontAlgn="auto" latinLnBrk="0" hangingPunct="1">
              <a:lnSpc>
                <a:spcPct val="100000"/>
              </a:lnSpc>
              <a:spcBef>
                <a:spcPts val="0"/>
              </a:spcBef>
              <a:spcAft>
                <a:spcPts val="0"/>
              </a:spcAft>
              <a:buClrTx/>
              <a:buSzTx/>
              <a:tabLst/>
              <a:defRPr/>
            </a:pPr>
            <a:r>
              <a:rPr lang="en-US" sz="1200" dirty="0"/>
              <a:t>Formal</a:t>
            </a:r>
            <a:endParaRPr lang="en-US" sz="2400" b="0" i="0" u="none" strike="noStrike" kern="1200" baseline="0" dirty="0">
              <a:solidFill>
                <a:schemeClr val="dk1"/>
              </a:solidFill>
              <a:latin typeface="+mn-lt"/>
              <a:ea typeface="+mn-ea"/>
              <a:cs typeface="+mn-cs"/>
            </a:endParaRPr>
          </a:p>
        </p:txBody>
      </p:sp>
    </p:spTree>
    <p:extLst>
      <p:ext uri="{BB962C8B-B14F-4D97-AF65-F5344CB8AC3E}">
        <p14:creationId xmlns:p14="http://schemas.microsoft.com/office/powerpoint/2010/main" val="8763228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463FA7-2C1F-6BDE-E99B-11D2BD0ABADB}"/>
              </a:ext>
            </a:extLst>
          </p:cNvPr>
          <p:cNvSpPr>
            <a:spLocks noGrp="1"/>
          </p:cNvSpPr>
          <p:nvPr>
            <p:ph type="title"/>
          </p:nvPr>
        </p:nvSpPr>
        <p:spPr/>
        <p:txBody>
          <a:bodyPr/>
          <a:lstStyle/>
          <a:p>
            <a:r>
              <a:rPr lang="en-US" dirty="0"/>
              <a:t>Thoughts on Rule and Other Questions</a:t>
            </a:r>
          </a:p>
        </p:txBody>
      </p:sp>
      <p:sp>
        <p:nvSpPr>
          <p:cNvPr id="5" name="Text Placeholder 4">
            <a:extLst>
              <a:ext uri="{FF2B5EF4-FFF2-40B4-BE49-F238E27FC236}">
                <a16:creationId xmlns:a16="http://schemas.microsoft.com/office/drawing/2014/main" id="{35844F3D-454B-D1B3-DD4C-DB490529A699}"/>
              </a:ext>
            </a:extLst>
          </p:cNvPr>
          <p:cNvSpPr>
            <a:spLocks noGrp="1"/>
          </p:cNvSpPr>
          <p:nvPr>
            <p:ph type="body" sz="quarter" idx="11"/>
          </p:nvPr>
        </p:nvSpPr>
        <p:spPr>
          <a:xfrm>
            <a:off x="624419" y="1676400"/>
            <a:ext cx="11040533" cy="4693920"/>
          </a:xfrm>
        </p:spPr>
        <p:txBody>
          <a:bodyPr>
            <a:normAutofit/>
          </a:bodyPr>
          <a:lstStyle/>
          <a:p>
            <a:pPr marL="233363" indent="-233363">
              <a:buClr>
                <a:srgbClr val="0070C0"/>
              </a:buClr>
            </a:pPr>
            <a:r>
              <a:rPr lang="en-US" sz="1800" u="sng" dirty="0">
                <a:solidFill>
                  <a:schemeClr val="tx1"/>
                </a:solidFill>
              </a:rPr>
              <a:t>Projection Based on Forecast</a:t>
            </a:r>
            <a:r>
              <a:rPr lang="en-US" sz="1800" dirty="0">
                <a:solidFill>
                  <a:schemeClr val="tx1"/>
                </a:solidFill>
              </a:rPr>
              <a:t>: Given the unpredictability and timing of notifications, we can’t always predict the specific relocation projects each year, but we can reasonably forecast the total annual capital amount. </a:t>
            </a:r>
            <a:r>
              <a:rPr lang="en-US" sz="1800" i="1" dirty="0">
                <a:solidFill>
                  <a:schemeClr val="tx1"/>
                </a:solidFill>
              </a:rPr>
              <a:t>Can we base our projection on a general </a:t>
            </a:r>
            <a:r>
              <a:rPr lang="en-US" sz="1800" dirty="0">
                <a:solidFill>
                  <a:schemeClr val="tx1"/>
                </a:solidFill>
              </a:rPr>
              <a:t>forecast</a:t>
            </a:r>
            <a:r>
              <a:rPr lang="en-US" sz="1800" i="1" dirty="0">
                <a:solidFill>
                  <a:schemeClr val="tx1"/>
                </a:solidFill>
              </a:rPr>
              <a:t>, or must it be project-specific?</a:t>
            </a:r>
          </a:p>
          <a:p>
            <a:pPr marL="233363" indent="-233363">
              <a:buClr>
                <a:srgbClr val="0070C0"/>
              </a:buClr>
            </a:pPr>
            <a:r>
              <a:rPr lang="en-US" sz="1800" u="sng" dirty="0">
                <a:solidFill>
                  <a:schemeClr val="tx1"/>
                </a:solidFill>
              </a:rPr>
              <a:t>Annual True-up</a:t>
            </a:r>
            <a:r>
              <a:rPr lang="en-US" sz="1800" dirty="0">
                <a:solidFill>
                  <a:schemeClr val="tx1"/>
                </a:solidFill>
              </a:rPr>
              <a:t>: This will enable the company to recover costs or refund any excess charges to customers. The true-up will be influenced by whether sales are lower or higher than projected, the number and timing of specific projects being less or more than anticipated, and actual project costs. </a:t>
            </a:r>
          </a:p>
          <a:p>
            <a:pPr marL="233363" indent="-233363">
              <a:buClr>
                <a:srgbClr val="0070C0"/>
              </a:buClr>
            </a:pPr>
            <a:r>
              <a:rPr lang="en-US" sz="1800" u="sng" dirty="0">
                <a:solidFill>
                  <a:schemeClr val="tx1"/>
                </a:solidFill>
              </a:rPr>
              <a:t>Capital Additions</a:t>
            </a:r>
            <a:r>
              <a:rPr lang="en-US" sz="1800" dirty="0">
                <a:solidFill>
                  <a:schemeClr val="tx1"/>
                </a:solidFill>
              </a:rPr>
              <a:t>:  New capital should be included for cost recovery. The cost of removal associated with the retired assets would not be included because the cost of removal is part of depreciation rates and is recovered through base rates. </a:t>
            </a:r>
            <a:r>
              <a:rPr lang="en-US" sz="1800" i="1" dirty="0">
                <a:solidFill>
                  <a:schemeClr val="tx1"/>
                </a:solidFill>
              </a:rPr>
              <a:t>Will the cost of removal be recovered through the clause or base rates?</a:t>
            </a:r>
          </a:p>
          <a:p>
            <a:pPr marL="233363" indent="-233363">
              <a:buClr>
                <a:srgbClr val="0070C0"/>
              </a:buClr>
            </a:pPr>
            <a:r>
              <a:rPr lang="en-US" sz="1800" u="sng" dirty="0">
                <a:solidFill>
                  <a:schemeClr val="tx1"/>
                </a:solidFill>
              </a:rPr>
              <a:t>Depreciation Savings</a:t>
            </a:r>
            <a:r>
              <a:rPr lang="en-US" sz="1800" dirty="0">
                <a:solidFill>
                  <a:schemeClr val="tx1"/>
                </a:solidFill>
              </a:rPr>
              <a:t>: Depreciation recovered through this clause should be offset by the depreciation the company would have expensed if the asset had not been retired. The retired asset was included in the rate base, meaning its depreciation was previously recovered through base rates. </a:t>
            </a:r>
            <a:r>
              <a:rPr lang="en-US" sz="1800" i="1" dirty="0">
                <a:solidFill>
                  <a:schemeClr val="tx1"/>
                </a:solidFill>
              </a:rPr>
              <a:t>Should the cost recovery through the clause be reduced by depreciation expense savings on the retired assets?</a:t>
            </a:r>
            <a:endParaRPr lang="en-US" sz="1800" dirty="0">
              <a:solidFill>
                <a:schemeClr val="tx1"/>
              </a:solidFill>
            </a:endParaRPr>
          </a:p>
          <a:p>
            <a:pPr marL="233363" indent="-233363">
              <a:buClr>
                <a:srgbClr val="0070C0"/>
              </a:buClr>
            </a:pPr>
            <a:r>
              <a:rPr lang="en-US" sz="1800" u="sng" dirty="0">
                <a:solidFill>
                  <a:schemeClr val="tx1"/>
                </a:solidFill>
              </a:rPr>
              <a:t>Allocation of Revenue Requirement</a:t>
            </a:r>
            <a:r>
              <a:rPr lang="en-US" sz="1800" dirty="0">
                <a:solidFill>
                  <a:schemeClr val="tx1"/>
                </a:solidFill>
              </a:rPr>
              <a:t>: The revenue requirement for the clause should allocated to the rate classes according to the cost-of-service study conducted in the most recent rate case. </a:t>
            </a:r>
          </a:p>
        </p:txBody>
      </p:sp>
      <p:sp>
        <p:nvSpPr>
          <p:cNvPr id="4" name="TextBox 3">
            <a:extLst>
              <a:ext uri="{FF2B5EF4-FFF2-40B4-BE49-F238E27FC236}">
                <a16:creationId xmlns:a16="http://schemas.microsoft.com/office/drawing/2014/main" id="{560F69C5-E33F-0154-E51C-6497CC2D7AB7}"/>
              </a:ext>
            </a:extLst>
          </p:cNvPr>
          <p:cNvSpPr txBox="1"/>
          <p:nvPr/>
        </p:nvSpPr>
        <p:spPr>
          <a:xfrm>
            <a:off x="966326" y="766100"/>
            <a:ext cx="10657184" cy="584775"/>
          </a:xfrm>
          <a:prstGeom prst="rect">
            <a:avLst/>
          </a:prstGeom>
          <a:noFill/>
        </p:spPr>
        <p:txBody>
          <a:bodyPr wrap="square" rtlCol="0">
            <a:spAutoFit/>
          </a:bodyPr>
          <a:lstStyle/>
          <a:p>
            <a:r>
              <a:rPr lang="en-US" sz="1600" i="1" dirty="0"/>
              <a:t>The company believes that many of the procedural aspects of its CI/BSR Rider </a:t>
            </a:r>
            <a:r>
              <a:rPr lang="en-US" sz="1600" i="1" dirty="0">
                <a:latin typeface="Calibri"/>
                <a:cs typeface="Calibri"/>
              </a:rPr>
              <a:t>make sense for the Natural Gas Facilities Relocation Cost Recovery Clause.</a:t>
            </a:r>
            <a:r>
              <a:rPr lang="en-US" sz="1600" i="1" dirty="0"/>
              <a:t> </a:t>
            </a:r>
          </a:p>
        </p:txBody>
      </p:sp>
    </p:spTree>
    <p:extLst>
      <p:ext uri="{BB962C8B-B14F-4D97-AF65-F5344CB8AC3E}">
        <p14:creationId xmlns:p14="http://schemas.microsoft.com/office/powerpoint/2010/main" val="3093945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28CCB2EB-F605-EA2E-D24C-C6EF930BF863}"/>
              </a:ext>
            </a:extLst>
          </p:cNvPr>
          <p:cNvGrpSpPr/>
          <p:nvPr/>
        </p:nvGrpSpPr>
        <p:grpSpPr>
          <a:xfrm>
            <a:off x="780081" y="1596921"/>
            <a:ext cx="10934043" cy="386121"/>
            <a:chOff x="932989" y="1455553"/>
            <a:chExt cx="10715136" cy="436612"/>
          </a:xfrm>
          <a:solidFill>
            <a:srgbClr val="1E4A99"/>
          </a:solidFill>
        </p:grpSpPr>
        <p:sp>
          <p:nvSpPr>
            <p:cNvPr id="5" name="Rectangle: Rounded Corners 4">
              <a:extLst>
                <a:ext uri="{FF2B5EF4-FFF2-40B4-BE49-F238E27FC236}">
                  <a16:creationId xmlns:a16="http://schemas.microsoft.com/office/drawing/2014/main" id="{97F9D5C9-22C3-FD3D-2A27-7242567826E7}"/>
                </a:ext>
              </a:extLst>
            </p:cNvPr>
            <p:cNvSpPr/>
            <p:nvPr>
              <p:custDataLst>
                <p:tags r:id="rId10"/>
              </p:custDataLst>
            </p:nvPr>
          </p:nvSpPr>
          <p:spPr>
            <a:xfrm>
              <a:off x="932989" y="1455553"/>
              <a:ext cx="10715136" cy="436612"/>
            </a:xfrm>
            <a:prstGeom prst="roundRect">
              <a:avLst/>
            </a:prstGeom>
            <a:grpFill/>
            <a:ln>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700">
                <a:solidFill>
                  <a:schemeClr val="bg1"/>
                </a:solidFill>
              </a:endParaRPr>
            </a:p>
          </p:txBody>
        </p:sp>
        <p:pic>
          <p:nvPicPr>
            <p:cNvPr id="44" name="Picture 43">
              <a:extLst>
                <a:ext uri="{FF2B5EF4-FFF2-40B4-BE49-F238E27FC236}">
                  <a16:creationId xmlns:a16="http://schemas.microsoft.com/office/drawing/2014/main" id="{645FF193-0FC8-E932-5E19-D486C37654E5}"/>
                </a:ext>
              </a:extLst>
            </p:cNvPr>
            <p:cNvPicPr>
              <a:picLocks noChangeAspect="1"/>
            </p:cNvPicPr>
            <p:nvPr/>
          </p:nvPicPr>
          <p:blipFill>
            <a:blip r:embed="rId14">
              <a:duotone>
                <a:schemeClr val="bg2">
                  <a:shade val="45000"/>
                  <a:satMod val="135000"/>
                </a:schemeClr>
                <a:prstClr val="white"/>
              </a:duotone>
              <a:extLst>
                <a:ext uri="{BEBA8EAE-BF5A-486C-A8C5-ECC9F3942E4B}">
                  <a14:imgProps xmlns:a14="http://schemas.microsoft.com/office/drawing/2010/main">
                    <a14:imgLayer r:embed="rId15">
                      <a14:imgEffect>
                        <a14:backgroundRemoval t="5843" b="89888" l="6118" r="94515">
                          <a14:foregroundMark x1="6540" y1="16854" x2="6751" y2="14831"/>
                          <a14:foregroundMark x1="7173" y1="10787" x2="7173" y2="10787"/>
                          <a14:foregroundMark x1="6540" y1="6067" x2="8017" y2="5843"/>
                          <a14:foregroundMark x1="94304" y1="78202" x2="94515" y2="73034"/>
                          <a14:foregroundMark x1="18565" y1="11461" x2="33333" y2="13708"/>
                          <a14:foregroundMark x1="53376" y1="17753" x2="70675" y2="31910"/>
                          <a14:foregroundMark x1="75105" y1="42247" x2="79325" y2="67191"/>
                          <a14:foregroundMark x1="86498" y1="79775" x2="86920" y2="50337"/>
                          <a14:foregroundMark x1="81013" y1="52584" x2="70675" y2="23146"/>
                          <a14:foregroundMark x1="72996" y1="20449" x2="58439" y2="19551"/>
                          <a14:foregroundMark x1="43671" y1="20449" x2="25738" y2="14607"/>
                          <a14:foregroundMark x1="13924" y1="9213" x2="20675" y2="10562"/>
                          <a14:foregroundMark x1="70253" y1="40449" x2="78903" y2="72584"/>
                        </a14:backgroundRemoval>
                      </a14:imgEffect>
                    </a14:imgLayer>
                  </a14:imgProps>
                </a:ext>
              </a:extLst>
            </a:blip>
            <a:stretch>
              <a:fillRect/>
            </a:stretch>
          </p:blipFill>
          <p:spPr>
            <a:xfrm>
              <a:off x="1079626" y="1563966"/>
              <a:ext cx="329527" cy="309368"/>
            </a:xfrm>
            <a:prstGeom prst="rect">
              <a:avLst/>
            </a:prstGeom>
            <a:grpFill/>
          </p:spPr>
        </p:pic>
        <p:pic>
          <p:nvPicPr>
            <p:cNvPr id="46" name="Picture 45">
              <a:extLst>
                <a:ext uri="{FF2B5EF4-FFF2-40B4-BE49-F238E27FC236}">
                  <a16:creationId xmlns:a16="http://schemas.microsoft.com/office/drawing/2014/main" id="{86D99E19-FEE7-DEF1-AA61-5A524B7A84A9}"/>
                </a:ext>
              </a:extLst>
            </p:cNvPr>
            <p:cNvPicPr>
              <a:picLocks noChangeAspect="1"/>
            </p:cNvPicPr>
            <p:nvPr/>
          </p:nvPicPr>
          <p:blipFill>
            <a:blip r:embed="rId14">
              <a:duotone>
                <a:schemeClr val="bg2">
                  <a:shade val="45000"/>
                  <a:satMod val="135000"/>
                </a:schemeClr>
                <a:prstClr val="white"/>
              </a:duotone>
              <a:extLst>
                <a:ext uri="{BEBA8EAE-BF5A-486C-A8C5-ECC9F3942E4B}">
                  <a14:imgProps xmlns:a14="http://schemas.microsoft.com/office/drawing/2010/main">
                    <a14:imgLayer r:embed="rId15">
                      <a14:imgEffect>
                        <a14:backgroundRemoval t="5843" b="89888" l="6118" r="94515">
                          <a14:foregroundMark x1="6540" y1="16854" x2="6751" y2="14831"/>
                          <a14:foregroundMark x1="7173" y1="10787" x2="7173" y2="10787"/>
                          <a14:foregroundMark x1="6540" y1="6067" x2="8017" y2="5843"/>
                          <a14:foregroundMark x1="94304" y1="78202" x2="94515" y2="73034"/>
                          <a14:foregroundMark x1="18565" y1="11461" x2="33333" y2="13708"/>
                          <a14:foregroundMark x1="53376" y1="17753" x2="70675" y2="31910"/>
                          <a14:foregroundMark x1="75105" y1="42247" x2="79325" y2="67191"/>
                          <a14:foregroundMark x1="86498" y1="79775" x2="86920" y2="50337"/>
                          <a14:foregroundMark x1="81013" y1="52584" x2="70675" y2="23146"/>
                          <a14:foregroundMark x1="72996" y1="20449" x2="58439" y2="19551"/>
                          <a14:foregroundMark x1="43671" y1="20449" x2="25738" y2="14607"/>
                          <a14:foregroundMark x1="13924" y1="9213" x2="20675" y2="10562"/>
                          <a14:foregroundMark x1="70253" y1="40449" x2="78903" y2="72584"/>
                        </a14:backgroundRemoval>
                      </a14:imgEffect>
                    </a14:imgLayer>
                  </a14:imgProps>
                </a:ext>
              </a:extLst>
            </a:blip>
            <a:stretch>
              <a:fillRect/>
            </a:stretch>
          </p:blipFill>
          <p:spPr>
            <a:xfrm>
              <a:off x="11089807" y="1515484"/>
              <a:ext cx="329527" cy="309368"/>
            </a:xfrm>
            <a:prstGeom prst="rect">
              <a:avLst/>
            </a:prstGeom>
            <a:grpFill/>
          </p:spPr>
        </p:pic>
        <p:sp>
          <p:nvSpPr>
            <p:cNvPr id="45" name="Sun 44">
              <a:extLst>
                <a:ext uri="{FF2B5EF4-FFF2-40B4-BE49-F238E27FC236}">
                  <a16:creationId xmlns:a16="http://schemas.microsoft.com/office/drawing/2014/main" id="{AB658262-3663-3C3D-1A67-A29924BFE269}"/>
                </a:ext>
              </a:extLst>
            </p:cNvPr>
            <p:cNvSpPr/>
            <p:nvPr>
              <p:custDataLst>
                <p:tags r:id="rId11"/>
              </p:custDataLst>
            </p:nvPr>
          </p:nvSpPr>
          <p:spPr>
            <a:xfrm>
              <a:off x="961332" y="1631419"/>
              <a:ext cx="240373" cy="240372"/>
            </a:xfrm>
            <a:prstGeom prst="sun">
              <a:avLst/>
            </a:prstGeom>
            <a:solidFill>
              <a:schemeClr val="bg1"/>
            </a:solidFill>
            <a:ln w="9525">
              <a:solidFill>
                <a:srgbClr val="01438B"/>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700">
                <a:solidFill>
                  <a:schemeClr val="bg1"/>
                </a:solidFill>
              </a:endParaRPr>
            </a:p>
          </p:txBody>
        </p:sp>
        <p:sp>
          <p:nvSpPr>
            <p:cNvPr id="47" name="Sun 46">
              <a:extLst>
                <a:ext uri="{FF2B5EF4-FFF2-40B4-BE49-F238E27FC236}">
                  <a16:creationId xmlns:a16="http://schemas.microsoft.com/office/drawing/2014/main" id="{5E379AAE-F193-9151-A317-675B2B397B2F}"/>
                </a:ext>
              </a:extLst>
            </p:cNvPr>
            <p:cNvSpPr/>
            <p:nvPr>
              <p:custDataLst>
                <p:tags r:id="rId12"/>
              </p:custDataLst>
            </p:nvPr>
          </p:nvSpPr>
          <p:spPr>
            <a:xfrm>
              <a:off x="10889507" y="1545571"/>
              <a:ext cx="240373" cy="240372"/>
            </a:xfrm>
            <a:prstGeom prst="sun">
              <a:avLst/>
            </a:prstGeom>
            <a:solidFill>
              <a:schemeClr val="bg1"/>
            </a:solidFill>
            <a:ln w="9525">
              <a:solidFill>
                <a:srgbClr val="01438B"/>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sz="1700"/>
            </a:p>
          </p:txBody>
        </p:sp>
      </p:grpSp>
      <p:sp>
        <p:nvSpPr>
          <p:cNvPr id="4" name="Title 3">
            <a:extLst>
              <a:ext uri="{FF2B5EF4-FFF2-40B4-BE49-F238E27FC236}">
                <a16:creationId xmlns:a16="http://schemas.microsoft.com/office/drawing/2014/main" id="{4E58C74A-B1C0-C4AA-F263-945605C4F0F7}"/>
              </a:ext>
            </a:extLst>
          </p:cNvPr>
          <p:cNvSpPr>
            <a:spLocks noGrp="1"/>
          </p:cNvSpPr>
          <p:nvPr>
            <p:ph type="title"/>
            <p:custDataLst>
              <p:tags r:id="rId1"/>
            </p:custDataLst>
          </p:nvPr>
        </p:nvSpPr>
        <p:spPr>
          <a:xfrm>
            <a:off x="921413" y="37480"/>
            <a:ext cx="10574965" cy="702728"/>
          </a:xfrm>
        </p:spPr>
        <p:txBody>
          <a:bodyPr>
            <a:normAutofit/>
          </a:bodyPr>
          <a:lstStyle/>
          <a:p>
            <a:r>
              <a:rPr lang="en-US" sz="3200" dirty="0">
                <a:latin typeface="Calibri"/>
                <a:ea typeface="Calibri"/>
                <a:cs typeface="Calibri"/>
              </a:rPr>
              <a:t>Other Questions</a:t>
            </a:r>
            <a:endParaRPr lang="en-US" sz="3200" dirty="0"/>
          </a:p>
        </p:txBody>
      </p:sp>
      <p:sp>
        <p:nvSpPr>
          <p:cNvPr id="17" name="Freeform: Shape 16">
            <a:extLst>
              <a:ext uri="{FF2B5EF4-FFF2-40B4-BE49-F238E27FC236}">
                <a16:creationId xmlns:a16="http://schemas.microsoft.com/office/drawing/2014/main" id="{AF111767-46FC-8488-3492-0ACFCB4493B4}"/>
              </a:ext>
            </a:extLst>
          </p:cNvPr>
          <p:cNvSpPr/>
          <p:nvPr>
            <p:custDataLst>
              <p:tags r:id="rId2"/>
            </p:custDataLst>
          </p:nvPr>
        </p:nvSpPr>
        <p:spPr>
          <a:xfrm>
            <a:off x="1254180" y="2307291"/>
            <a:ext cx="3294515" cy="560055"/>
          </a:xfrm>
          <a:custGeom>
            <a:avLst/>
            <a:gdLst>
              <a:gd name="connsiteX0" fmla="*/ 0 w 1685008"/>
              <a:gd name="connsiteY0" fmla="*/ 0 h 569580"/>
              <a:gd name="connsiteX1" fmla="*/ 1685008 w 1685008"/>
              <a:gd name="connsiteY1" fmla="*/ 0 h 569580"/>
              <a:gd name="connsiteX2" fmla="*/ 1685008 w 1685008"/>
              <a:gd name="connsiteY2" fmla="*/ 569580 h 569580"/>
              <a:gd name="connsiteX3" fmla="*/ 0 w 1685008"/>
              <a:gd name="connsiteY3" fmla="*/ 569580 h 569580"/>
              <a:gd name="connsiteX4" fmla="*/ 0 w 1685008"/>
              <a:gd name="connsiteY4" fmla="*/ 0 h 569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008" h="569580">
                <a:moveTo>
                  <a:pt x="0" y="0"/>
                </a:moveTo>
                <a:lnTo>
                  <a:pt x="1685008" y="0"/>
                </a:lnTo>
                <a:lnTo>
                  <a:pt x="1685008" y="569580"/>
                </a:lnTo>
                <a:lnTo>
                  <a:pt x="0" y="5695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0640" tIns="40640" rIns="40640" bIns="40640" numCol="1" spcCol="1270" anchor="b" anchorCtr="0">
            <a:noAutofit/>
          </a:bodyPr>
          <a:lstStyle/>
          <a:p>
            <a:pPr algn="ctr" defTabSz="711200">
              <a:lnSpc>
                <a:spcPct val="90000"/>
              </a:lnSpc>
              <a:spcBef>
                <a:spcPct val="0"/>
              </a:spcBef>
              <a:spcAft>
                <a:spcPct val="35000"/>
              </a:spcAft>
            </a:pPr>
            <a:r>
              <a:rPr lang="en-US" sz="1600" b="1" dirty="0"/>
              <a:t>Section 25-7.150(2)</a:t>
            </a:r>
            <a:endParaRPr lang="en-US" sz="1600" b="1" kern="1200" dirty="0">
              <a:ea typeface="Calibri"/>
              <a:cs typeface="Calibri"/>
            </a:endParaRPr>
          </a:p>
        </p:txBody>
      </p:sp>
      <p:sp>
        <p:nvSpPr>
          <p:cNvPr id="20" name="Freeform: Shape 19">
            <a:extLst>
              <a:ext uri="{FF2B5EF4-FFF2-40B4-BE49-F238E27FC236}">
                <a16:creationId xmlns:a16="http://schemas.microsoft.com/office/drawing/2014/main" id="{34A03659-2BC0-40C4-2399-10E9B7E6DE62}"/>
              </a:ext>
            </a:extLst>
          </p:cNvPr>
          <p:cNvSpPr/>
          <p:nvPr>
            <p:custDataLst>
              <p:tags r:id="rId3"/>
            </p:custDataLst>
          </p:nvPr>
        </p:nvSpPr>
        <p:spPr>
          <a:xfrm>
            <a:off x="5702359" y="3259144"/>
            <a:ext cx="1685008" cy="2396983"/>
          </a:xfrm>
          <a:custGeom>
            <a:avLst/>
            <a:gdLst>
              <a:gd name="connsiteX0" fmla="*/ 0 w 1685008"/>
              <a:gd name="connsiteY0" fmla="*/ 0 h 2396983"/>
              <a:gd name="connsiteX1" fmla="*/ 1685008 w 1685008"/>
              <a:gd name="connsiteY1" fmla="*/ 0 h 2396983"/>
              <a:gd name="connsiteX2" fmla="*/ 1685008 w 1685008"/>
              <a:gd name="connsiteY2" fmla="*/ 2396983 h 2396983"/>
              <a:gd name="connsiteX3" fmla="*/ 0 w 1685008"/>
              <a:gd name="connsiteY3" fmla="*/ 2396983 h 2396983"/>
              <a:gd name="connsiteX4" fmla="*/ 0 w 1685008"/>
              <a:gd name="connsiteY4" fmla="*/ 0 h 2396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008" h="2396983">
                <a:moveTo>
                  <a:pt x="0" y="0"/>
                </a:moveTo>
                <a:lnTo>
                  <a:pt x="1685008" y="0"/>
                </a:lnTo>
                <a:lnTo>
                  <a:pt x="1685008" y="2396983"/>
                </a:lnTo>
                <a:lnTo>
                  <a:pt x="0" y="23969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940" tIns="27940" rIns="27940" bIns="27940" numCol="1" spcCol="1270" anchor="t" anchorCtr="0">
            <a:noAutofit/>
          </a:bodyPr>
          <a:lstStyle/>
          <a:p>
            <a:pPr marL="171450" indent="-171450">
              <a:spcBef>
                <a:spcPct val="0"/>
              </a:spcBef>
              <a:spcAft>
                <a:spcPct val="35000"/>
              </a:spcAft>
              <a:buFont typeface="Arial" panose="020B0604020202020204" pitchFamily="34" charset="0"/>
              <a:buChar char="•"/>
            </a:pPr>
            <a:endParaRPr lang="en-US" sz="1050">
              <a:solidFill>
                <a:schemeClr val="tx1"/>
              </a:solidFill>
            </a:endParaRPr>
          </a:p>
        </p:txBody>
      </p:sp>
      <p:sp>
        <p:nvSpPr>
          <p:cNvPr id="21" name="Freeform: Shape 20">
            <a:extLst>
              <a:ext uri="{FF2B5EF4-FFF2-40B4-BE49-F238E27FC236}">
                <a16:creationId xmlns:a16="http://schemas.microsoft.com/office/drawing/2014/main" id="{F080BE84-064E-97BF-E7D5-54B3D00ACF4C}"/>
              </a:ext>
            </a:extLst>
          </p:cNvPr>
          <p:cNvSpPr/>
          <p:nvPr>
            <p:custDataLst>
              <p:tags r:id="rId4"/>
            </p:custDataLst>
          </p:nvPr>
        </p:nvSpPr>
        <p:spPr>
          <a:xfrm>
            <a:off x="5298906" y="2423530"/>
            <a:ext cx="2652980" cy="588630"/>
          </a:xfrm>
          <a:custGeom>
            <a:avLst/>
            <a:gdLst>
              <a:gd name="connsiteX0" fmla="*/ 0 w 1685008"/>
              <a:gd name="connsiteY0" fmla="*/ 0 h 569580"/>
              <a:gd name="connsiteX1" fmla="*/ 1685008 w 1685008"/>
              <a:gd name="connsiteY1" fmla="*/ 0 h 569580"/>
              <a:gd name="connsiteX2" fmla="*/ 1685008 w 1685008"/>
              <a:gd name="connsiteY2" fmla="*/ 569580 h 569580"/>
              <a:gd name="connsiteX3" fmla="*/ 0 w 1685008"/>
              <a:gd name="connsiteY3" fmla="*/ 569580 h 569580"/>
              <a:gd name="connsiteX4" fmla="*/ 0 w 1685008"/>
              <a:gd name="connsiteY4" fmla="*/ 0 h 569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008" h="569580">
                <a:moveTo>
                  <a:pt x="0" y="0"/>
                </a:moveTo>
                <a:lnTo>
                  <a:pt x="1685008" y="0"/>
                </a:lnTo>
                <a:lnTo>
                  <a:pt x="1685008" y="569580"/>
                </a:lnTo>
                <a:lnTo>
                  <a:pt x="0" y="56958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0640" tIns="40640" rIns="40640" bIns="40640" numCol="1" spcCol="1270" anchor="b" anchorCtr="0">
            <a:noAutofit/>
          </a:bodyPr>
          <a:lstStyle/>
          <a:p>
            <a:pPr algn="ctr" defTabSz="711200">
              <a:lnSpc>
                <a:spcPct val="90000"/>
              </a:lnSpc>
              <a:spcBef>
                <a:spcPct val="0"/>
              </a:spcBef>
              <a:spcAft>
                <a:spcPct val="35000"/>
              </a:spcAft>
            </a:pPr>
            <a:endParaRPr lang="en-US" sz="1600" b="1" kern="1200" dirty="0"/>
          </a:p>
        </p:txBody>
      </p:sp>
      <p:sp>
        <p:nvSpPr>
          <p:cNvPr id="12" name="TextBox 11">
            <a:extLst>
              <a:ext uri="{FF2B5EF4-FFF2-40B4-BE49-F238E27FC236}">
                <a16:creationId xmlns:a16="http://schemas.microsoft.com/office/drawing/2014/main" id="{D8D536AF-DCAF-C90A-9A8A-A7067105B27C}"/>
              </a:ext>
            </a:extLst>
          </p:cNvPr>
          <p:cNvSpPr txBox="1"/>
          <p:nvPr/>
        </p:nvSpPr>
        <p:spPr>
          <a:xfrm>
            <a:off x="2250906" y="5656127"/>
            <a:ext cx="6096000" cy="461665"/>
          </a:xfrm>
          <a:prstGeom prst="rect">
            <a:avLst/>
          </a:prstGeom>
          <a:noFill/>
        </p:spPr>
        <p:txBody>
          <a:bodyPr wrap="square">
            <a:spAutoFit/>
          </a:bodyPr>
          <a:lstStyle/>
          <a:p>
            <a:pPr marL="0" marR="0">
              <a:spcBef>
                <a:spcPts val="0"/>
              </a:spcBef>
              <a:spcAft>
                <a:spcPts val="0"/>
              </a:spcAft>
            </a:pPr>
            <a:endParaRPr lang="en-US" sz="2400">
              <a:latin typeface="Arial" panose="020B0604020202020204" pitchFamily="34" charset="0"/>
              <a:ea typeface="Calibri" panose="020F0502020204030204" pitchFamily="34" charset="0"/>
            </a:endParaRPr>
          </a:p>
        </p:txBody>
      </p:sp>
      <p:sp>
        <p:nvSpPr>
          <p:cNvPr id="26" name="TextBox 25">
            <a:extLst>
              <a:ext uri="{FF2B5EF4-FFF2-40B4-BE49-F238E27FC236}">
                <a16:creationId xmlns:a16="http://schemas.microsoft.com/office/drawing/2014/main" id="{3B71DBD7-8724-CF0D-A33F-06D0A29C1568}"/>
              </a:ext>
            </a:extLst>
          </p:cNvPr>
          <p:cNvSpPr txBox="1"/>
          <p:nvPr>
            <p:custDataLst>
              <p:tags r:id="rId5"/>
            </p:custDataLst>
          </p:nvPr>
        </p:nvSpPr>
        <p:spPr>
          <a:xfrm>
            <a:off x="1314050" y="3146489"/>
            <a:ext cx="3276761" cy="1338828"/>
          </a:xfrm>
          <a:prstGeom prst="rect">
            <a:avLst/>
          </a:prstGeom>
          <a:noFill/>
        </p:spPr>
        <p:txBody>
          <a:bodyPr wrap="square" lIns="91440" tIns="45720" rIns="91440" bIns="45720" rtlCol="0" anchor="t">
            <a:spAutoFit/>
          </a:bodyPr>
          <a:lstStyle/>
          <a:p>
            <a:pPr marL="171450" indent="-171450">
              <a:spcBef>
                <a:spcPts val="300"/>
              </a:spcBef>
              <a:spcAft>
                <a:spcPts val="300"/>
              </a:spcAft>
              <a:buFont typeface="Arial" panose="020B0604020202020204" pitchFamily="34" charset="0"/>
              <a:buChar char="•"/>
            </a:pPr>
            <a:endParaRPr lang="en-US" sz="1200" dirty="0">
              <a:cs typeface="Arial"/>
            </a:endParaRPr>
          </a:p>
          <a:p>
            <a:pPr marL="171450" indent="-171450">
              <a:spcBef>
                <a:spcPts val="300"/>
              </a:spcBef>
              <a:spcAft>
                <a:spcPts val="300"/>
              </a:spcAft>
              <a:buFont typeface="Arial" panose="020B0604020202020204" pitchFamily="34" charset="0"/>
              <a:buChar char="•"/>
            </a:pPr>
            <a:endParaRPr lang="en-US" sz="1200" dirty="0">
              <a:cs typeface="Arial"/>
            </a:endParaRPr>
          </a:p>
          <a:p>
            <a:pPr marL="171450" indent="-171450">
              <a:spcBef>
                <a:spcPts val="300"/>
              </a:spcBef>
              <a:spcAft>
                <a:spcPts val="300"/>
              </a:spcAft>
              <a:buFont typeface="Arial" panose="020B0604020202020204" pitchFamily="34" charset="0"/>
              <a:buChar char="•"/>
            </a:pPr>
            <a:endParaRPr lang="en-US" sz="1200" dirty="0">
              <a:cs typeface="Arial"/>
            </a:endParaRPr>
          </a:p>
          <a:p>
            <a:pPr marL="171450" indent="-171450">
              <a:spcBef>
                <a:spcPts val="300"/>
              </a:spcBef>
              <a:spcAft>
                <a:spcPts val="300"/>
              </a:spcAft>
              <a:buFont typeface="Arial" panose="020B0604020202020204" pitchFamily="34" charset="0"/>
              <a:buChar char="•"/>
            </a:pPr>
            <a:endParaRPr lang="en-US" sz="1200" dirty="0">
              <a:cs typeface="Arial"/>
            </a:endParaRPr>
          </a:p>
          <a:p>
            <a:pPr marL="285750" indent="-285750">
              <a:spcBef>
                <a:spcPts val="300"/>
              </a:spcBef>
              <a:spcAft>
                <a:spcPts val="300"/>
              </a:spcAft>
              <a:buClr>
                <a:schemeClr val="accent2"/>
              </a:buClr>
              <a:buFont typeface="Arial" panose="020B0604020202020204" pitchFamily="34" charset="0"/>
              <a:buChar char="•"/>
            </a:pPr>
            <a:endParaRPr lang="en-US" sz="1300" dirty="0"/>
          </a:p>
        </p:txBody>
      </p:sp>
      <p:graphicFrame>
        <p:nvGraphicFramePr>
          <p:cNvPr id="3" name="Diagram 2">
            <a:extLst>
              <a:ext uri="{FF2B5EF4-FFF2-40B4-BE49-F238E27FC236}">
                <a16:creationId xmlns:a16="http://schemas.microsoft.com/office/drawing/2014/main" id="{85F1A03F-CA35-EA51-993B-DF2EFF4CCA69}"/>
              </a:ext>
            </a:extLst>
          </p:cNvPr>
          <p:cNvGraphicFramePr/>
          <p:nvPr/>
        </p:nvGraphicFramePr>
        <p:xfrm>
          <a:off x="2920167" y="6297135"/>
          <a:ext cx="6502128" cy="402648"/>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pSp>
        <p:nvGrpSpPr>
          <p:cNvPr id="54" name="Group 53">
            <a:extLst>
              <a:ext uri="{FF2B5EF4-FFF2-40B4-BE49-F238E27FC236}">
                <a16:creationId xmlns:a16="http://schemas.microsoft.com/office/drawing/2014/main" id="{66F60C31-F6CC-0C65-1CFB-778BED599A71}"/>
              </a:ext>
            </a:extLst>
          </p:cNvPr>
          <p:cNvGrpSpPr/>
          <p:nvPr/>
        </p:nvGrpSpPr>
        <p:grpSpPr>
          <a:xfrm>
            <a:off x="623392" y="2321446"/>
            <a:ext cx="725008" cy="731223"/>
            <a:chOff x="839470" y="2670821"/>
            <a:chExt cx="797509" cy="804345"/>
          </a:xfrm>
        </p:grpSpPr>
        <p:sp>
          <p:nvSpPr>
            <p:cNvPr id="29" name="Oval 28">
              <a:extLst>
                <a:ext uri="{FF2B5EF4-FFF2-40B4-BE49-F238E27FC236}">
                  <a16:creationId xmlns:a16="http://schemas.microsoft.com/office/drawing/2014/main" id="{B4FC0CB9-A9C4-F408-F669-9BA8B0FD65D5}"/>
                </a:ext>
              </a:extLst>
            </p:cNvPr>
            <p:cNvSpPr/>
            <p:nvPr>
              <p:custDataLst>
                <p:tags r:id="rId6"/>
              </p:custDataLst>
            </p:nvPr>
          </p:nvSpPr>
          <p:spPr>
            <a:xfrm>
              <a:off x="855169" y="2728181"/>
              <a:ext cx="733335" cy="731222"/>
            </a:xfrm>
            <a:prstGeom prst="ellipse">
              <a:avLst/>
            </a:prstGeom>
            <a:solidFill>
              <a:schemeClr val="bg1"/>
            </a:solidFill>
            <a:ln>
              <a:solidFill>
                <a:srgbClr val="0D67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srgbClr val="FFFFFF"/>
                </a:solidFill>
                <a:latin typeface="Calibri" panose="020F0502020204030204"/>
              </a:endParaRPr>
            </a:p>
          </p:txBody>
        </p:sp>
        <p:sp>
          <p:nvSpPr>
            <p:cNvPr id="6" name="Arc 5">
              <a:extLst>
                <a:ext uri="{FF2B5EF4-FFF2-40B4-BE49-F238E27FC236}">
                  <a16:creationId xmlns:a16="http://schemas.microsoft.com/office/drawing/2014/main" id="{060AE2C0-A0FC-062E-7617-ECA1A622F69E}"/>
                </a:ext>
              </a:extLst>
            </p:cNvPr>
            <p:cNvSpPr/>
            <p:nvPr>
              <p:custDataLst>
                <p:tags r:id="rId7"/>
              </p:custDataLst>
            </p:nvPr>
          </p:nvSpPr>
          <p:spPr>
            <a:xfrm>
              <a:off x="839470" y="2670821"/>
              <a:ext cx="797509" cy="804345"/>
            </a:xfrm>
            <a:prstGeom prst="arc">
              <a:avLst>
                <a:gd name="adj1" fmla="val 12449201"/>
                <a:gd name="adj2" fmla="val 21222631"/>
              </a:avLst>
            </a:prstGeom>
            <a:noFill/>
            <a:ln w="0">
              <a:solidFill>
                <a:srgbClr val="0D67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srgbClr val="FFFFFF"/>
                </a:solidFill>
                <a:latin typeface="Calibri" panose="020F0502020204030204"/>
              </a:endParaRPr>
            </a:p>
          </p:txBody>
        </p:sp>
        <p:sp>
          <p:nvSpPr>
            <p:cNvPr id="28" name="Oval 27">
              <a:extLst>
                <a:ext uri="{FF2B5EF4-FFF2-40B4-BE49-F238E27FC236}">
                  <a16:creationId xmlns:a16="http://schemas.microsoft.com/office/drawing/2014/main" id="{09659B9B-EACA-A35B-8F6A-09C0FE940F16}"/>
                </a:ext>
              </a:extLst>
            </p:cNvPr>
            <p:cNvSpPr/>
            <p:nvPr>
              <p:custDataLst>
                <p:tags r:id="rId8"/>
              </p:custDataLst>
            </p:nvPr>
          </p:nvSpPr>
          <p:spPr>
            <a:xfrm>
              <a:off x="895432" y="2745691"/>
              <a:ext cx="673224" cy="678995"/>
            </a:xfrm>
            <a:prstGeom prst="ellipse">
              <a:avLst/>
            </a:prstGeom>
            <a:solidFill>
              <a:srgbClr val="0D67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IN" sz="1350" dirty="0">
                <a:solidFill>
                  <a:prstClr val="white"/>
                </a:solidFill>
                <a:latin typeface="Calibri" panose="020F0502020204030204"/>
              </a:endParaRPr>
            </a:p>
          </p:txBody>
        </p:sp>
        <p:sp>
          <p:nvSpPr>
            <p:cNvPr id="31" name="Freeform: Shape 30">
              <a:extLst>
                <a:ext uri="{FF2B5EF4-FFF2-40B4-BE49-F238E27FC236}">
                  <a16:creationId xmlns:a16="http://schemas.microsoft.com/office/drawing/2014/main" id="{34B09D87-9A54-5904-0A9A-1ABF7E837639}"/>
                </a:ext>
              </a:extLst>
            </p:cNvPr>
            <p:cNvSpPr/>
            <p:nvPr>
              <p:custDataLst>
                <p:tags r:id="rId9"/>
              </p:custDataLst>
            </p:nvPr>
          </p:nvSpPr>
          <p:spPr>
            <a:xfrm>
              <a:off x="1064027" y="2886997"/>
              <a:ext cx="348395" cy="336785"/>
            </a:xfrm>
            <a:custGeom>
              <a:avLst/>
              <a:gdLst>
                <a:gd name="connsiteX0" fmla="*/ 504825 w 571500"/>
                <a:gd name="connsiteY0" fmla="*/ 438150 h 552450"/>
                <a:gd name="connsiteX1" fmla="*/ 561975 w 571500"/>
                <a:gd name="connsiteY1" fmla="*/ 495300 h 552450"/>
                <a:gd name="connsiteX2" fmla="*/ 504825 w 571500"/>
                <a:gd name="connsiteY2" fmla="*/ 552450 h 552450"/>
                <a:gd name="connsiteX3" fmla="*/ 447675 w 571500"/>
                <a:gd name="connsiteY3" fmla="*/ 495300 h 552450"/>
                <a:gd name="connsiteX4" fmla="*/ 504825 w 571500"/>
                <a:gd name="connsiteY4" fmla="*/ 438150 h 552450"/>
                <a:gd name="connsiteX5" fmla="*/ 238125 w 571500"/>
                <a:gd name="connsiteY5" fmla="*/ 438150 h 552450"/>
                <a:gd name="connsiteX6" fmla="*/ 294418 w 571500"/>
                <a:gd name="connsiteY6" fmla="*/ 485775 h 552450"/>
                <a:gd name="connsiteX7" fmla="*/ 405631 w 571500"/>
                <a:gd name="connsiteY7" fmla="*/ 485775 h 552450"/>
                <a:gd name="connsiteX8" fmla="*/ 393316 w 571500"/>
                <a:gd name="connsiteY8" fmla="*/ 473459 h 552450"/>
                <a:gd name="connsiteX9" fmla="*/ 406784 w 571500"/>
                <a:gd name="connsiteY9" fmla="*/ 459991 h 552450"/>
                <a:gd name="connsiteX10" fmla="*/ 442094 w 571500"/>
                <a:gd name="connsiteY10" fmla="*/ 495300 h 552450"/>
                <a:gd name="connsiteX11" fmla="*/ 406784 w 571500"/>
                <a:gd name="connsiteY11" fmla="*/ 530609 h 552450"/>
                <a:gd name="connsiteX12" fmla="*/ 393316 w 571500"/>
                <a:gd name="connsiteY12" fmla="*/ 517141 h 552450"/>
                <a:gd name="connsiteX13" fmla="*/ 405631 w 571500"/>
                <a:gd name="connsiteY13" fmla="*/ 504825 h 552450"/>
                <a:gd name="connsiteX14" fmla="*/ 294418 w 571500"/>
                <a:gd name="connsiteY14" fmla="*/ 504825 h 552450"/>
                <a:gd name="connsiteX15" fmla="*/ 238125 w 571500"/>
                <a:gd name="connsiteY15" fmla="*/ 552450 h 552450"/>
                <a:gd name="connsiteX16" fmla="*/ 180975 w 571500"/>
                <a:gd name="connsiteY16" fmla="*/ 495300 h 552450"/>
                <a:gd name="connsiteX17" fmla="*/ 238125 w 571500"/>
                <a:gd name="connsiteY17" fmla="*/ 438150 h 552450"/>
                <a:gd name="connsiteX18" fmla="*/ 200025 w 571500"/>
                <a:gd name="connsiteY18" fmla="*/ 219075 h 552450"/>
                <a:gd name="connsiteX19" fmla="*/ 257175 w 571500"/>
                <a:gd name="connsiteY19" fmla="*/ 276225 h 552450"/>
                <a:gd name="connsiteX20" fmla="*/ 200025 w 571500"/>
                <a:gd name="connsiteY20" fmla="*/ 333375 h 552450"/>
                <a:gd name="connsiteX21" fmla="*/ 143732 w 571500"/>
                <a:gd name="connsiteY21" fmla="*/ 285750 h 552450"/>
                <a:gd name="connsiteX22" fmla="*/ 119063 w 571500"/>
                <a:gd name="connsiteY22" fmla="*/ 285750 h 552450"/>
                <a:gd name="connsiteX23" fmla="*/ 19050 w 571500"/>
                <a:gd name="connsiteY23" fmla="*/ 385763 h 552450"/>
                <a:gd name="connsiteX24" fmla="*/ 119063 w 571500"/>
                <a:gd name="connsiteY24" fmla="*/ 485775 h 552450"/>
                <a:gd name="connsiteX25" fmla="*/ 138931 w 571500"/>
                <a:gd name="connsiteY25" fmla="*/ 485775 h 552450"/>
                <a:gd name="connsiteX26" fmla="*/ 126616 w 571500"/>
                <a:gd name="connsiteY26" fmla="*/ 473459 h 552450"/>
                <a:gd name="connsiteX27" fmla="*/ 140084 w 571500"/>
                <a:gd name="connsiteY27" fmla="*/ 459991 h 552450"/>
                <a:gd name="connsiteX28" fmla="*/ 175394 w 571500"/>
                <a:gd name="connsiteY28" fmla="*/ 495300 h 552450"/>
                <a:gd name="connsiteX29" fmla="*/ 140084 w 571500"/>
                <a:gd name="connsiteY29" fmla="*/ 530609 h 552450"/>
                <a:gd name="connsiteX30" fmla="*/ 126616 w 571500"/>
                <a:gd name="connsiteY30" fmla="*/ 517141 h 552450"/>
                <a:gd name="connsiteX31" fmla="*/ 138931 w 571500"/>
                <a:gd name="connsiteY31" fmla="*/ 504825 h 552450"/>
                <a:gd name="connsiteX32" fmla="*/ 119063 w 571500"/>
                <a:gd name="connsiteY32" fmla="*/ 504825 h 552450"/>
                <a:gd name="connsiteX33" fmla="*/ 0 w 571500"/>
                <a:gd name="connsiteY33" fmla="*/ 385763 h 552450"/>
                <a:gd name="connsiteX34" fmla="*/ 119063 w 571500"/>
                <a:gd name="connsiteY34" fmla="*/ 266700 h 552450"/>
                <a:gd name="connsiteX35" fmla="*/ 143732 w 571500"/>
                <a:gd name="connsiteY35" fmla="*/ 266700 h 552450"/>
                <a:gd name="connsiteX36" fmla="*/ 200025 w 571500"/>
                <a:gd name="connsiteY36" fmla="*/ 219075 h 552450"/>
                <a:gd name="connsiteX37" fmla="*/ 333375 w 571500"/>
                <a:gd name="connsiteY37" fmla="*/ 0 h 552450"/>
                <a:gd name="connsiteX38" fmla="*/ 389668 w 571500"/>
                <a:gd name="connsiteY38" fmla="*/ 47625 h 552450"/>
                <a:gd name="connsiteX39" fmla="*/ 452438 w 571500"/>
                <a:gd name="connsiteY39" fmla="*/ 47625 h 552450"/>
                <a:gd name="connsiteX40" fmla="*/ 571500 w 571500"/>
                <a:gd name="connsiteY40" fmla="*/ 166688 h 552450"/>
                <a:gd name="connsiteX41" fmla="*/ 452438 w 571500"/>
                <a:gd name="connsiteY41" fmla="*/ 285750 h 552450"/>
                <a:gd name="connsiteX42" fmla="*/ 299220 w 571500"/>
                <a:gd name="connsiteY42" fmla="*/ 285750 h 552450"/>
                <a:gd name="connsiteX43" fmla="*/ 311534 w 571500"/>
                <a:gd name="connsiteY43" fmla="*/ 298066 h 552450"/>
                <a:gd name="connsiteX44" fmla="*/ 298066 w 571500"/>
                <a:gd name="connsiteY44" fmla="*/ 311534 h 552450"/>
                <a:gd name="connsiteX45" fmla="*/ 262756 w 571500"/>
                <a:gd name="connsiteY45" fmla="*/ 276225 h 552450"/>
                <a:gd name="connsiteX46" fmla="*/ 298066 w 571500"/>
                <a:gd name="connsiteY46" fmla="*/ 240916 h 552450"/>
                <a:gd name="connsiteX47" fmla="*/ 311534 w 571500"/>
                <a:gd name="connsiteY47" fmla="*/ 254384 h 552450"/>
                <a:gd name="connsiteX48" fmla="*/ 299220 w 571500"/>
                <a:gd name="connsiteY48" fmla="*/ 266700 h 552450"/>
                <a:gd name="connsiteX49" fmla="*/ 452438 w 571500"/>
                <a:gd name="connsiteY49" fmla="*/ 266700 h 552450"/>
                <a:gd name="connsiteX50" fmla="*/ 552450 w 571500"/>
                <a:gd name="connsiteY50" fmla="*/ 166688 h 552450"/>
                <a:gd name="connsiteX51" fmla="*/ 452438 w 571500"/>
                <a:gd name="connsiteY51" fmla="*/ 66675 h 552450"/>
                <a:gd name="connsiteX52" fmla="*/ 389668 w 571500"/>
                <a:gd name="connsiteY52" fmla="*/ 66675 h 552450"/>
                <a:gd name="connsiteX53" fmla="*/ 333375 w 571500"/>
                <a:gd name="connsiteY53" fmla="*/ 114300 h 552450"/>
                <a:gd name="connsiteX54" fmla="*/ 276225 w 571500"/>
                <a:gd name="connsiteY54" fmla="*/ 57150 h 552450"/>
                <a:gd name="connsiteX55" fmla="*/ 333375 w 571500"/>
                <a:gd name="connsiteY55" fmla="*/ 0 h 552450"/>
                <a:gd name="connsiteX56" fmla="*/ 66675 w 571500"/>
                <a:gd name="connsiteY56" fmla="*/ 0 h 552450"/>
                <a:gd name="connsiteX57" fmla="*/ 122968 w 571500"/>
                <a:gd name="connsiteY57" fmla="*/ 47625 h 552450"/>
                <a:gd name="connsiteX58" fmla="*/ 234181 w 571500"/>
                <a:gd name="connsiteY58" fmla="*/ 47625 h 552450"/>
                <a:gd name="connsiteX59" fmla="*/ 221866 w 571500"/>
                <a:gd name="connsiteY59" fmla="*/ 35309 h 552450"/>
                <a:gd name="connsiteX60" fmla="*/ 235334 w 571500"/>
                <a:gd name="connsiteY60" fmla="*/ 21841 h 552450"/>
                <a:gd name="connsiteX61" fmla="*/ 270644 w 571500"/>
                <a:gd name="connsiteY61" fmla="*/ 57150 h 552450"/>
                <a:gd name="connsiteX62" fmla="*/ 235334 w 571500"/>
                <a:gd name="connsiteY62" fmla="*/ 92459 h 552450"/>
                <a:gd name="connsiteX63" fmla="*/ 221866 w 571500"/>
                <a:gd name="connsiteY63" fmla="*/ 78991 h 552450"/>
                <a:gd name="connsiteX64" fmla="*/ 234181 w 571500"/>
                <a:gd name="connsiteY64" fmla="*/ 66675 h 552450"/>
                <a:gd name="connsiteX65" fmla="*/ 122968 w 571500"/>
                <a:gd name="connsiteY65" fmla="*/ 66675 h 552450"/>
                <a:gd name="connsiteX66" fmla="*/ 66675 w 571500"/>
                <a:gd name="connsiteY66" fmla="*/ 114300 h 552450"/>
                <a:gd name="connsiteX67" fmla="*/ 9525 w 571500"/>
                <a:gd name="connsiteY67" fmla="*/ 57150 h 552450"/>
                <a:gd name="connsiteX68" fmla="*/ 66675 w 571500"/>
                <a:gd name="connsiteY68" fmla="*/ 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71500" h="552450">
                  <a:moveTo>
                    <a:pt x="504825" y="438150"/>
                  </a:moveTo>
                  <a:cubicBezTo>
                    <a:pt x="536388" y="438150"/>
                    <a:pt x="561975" y="463737"/>
                    <a:pt x="561975" y="495300"/>
                  </a:cubicBezTo>
                  <a:cubicBezTo>
                    <a:pt x="561975" y="526863"/>
                    <a:pt x="536388" y="552450"/>
                    <a:pt x="504825" y="552450"/>
                  </a:cubicBezTo>
                  <a:cubicBezTo>
                    <a:pt x="473262" y="552450"/>
                    <a:pt x="447675" y="526863"/>
                    <a:pt x="447675" y="495300"/>
                  </a:cubicBezTo>
                  <a:cubicBezTo>
                    <a:pt x="447675" y="463737"/>
                    <a:pt x="473262" y="438150"/>
                    <a:pt x="504825" y="438150"/>
                  </a:cubicBezTo>
                  <a:close/>
                  <a:moveTo>
                    <a:pt x="238125" y="438150"/>
                  </a:moveTo>
                  <a:cubicBezTo>
                    <a:pt x="266435" y="438150"/>
                    <a:pt x="289874" y="458756"/>
                    <a:pt x="294418" y="485775"/>
                  </a:cubicBezTo>
                  <a:lnTo>
                    <a:pt x="405631" y="485775"/>
                  </a:lnTo>
                  <a:lnTo>
                    <a:pt x="393316" y="473459"/>
                  </a:lnTo>
                  <a:lnTo>
                    <a:pt x="406784" y="459991"/>
                  </a:lnTo>
                  <a:lnTo>
                    <a:pt x="442094" y="495300"/>
                  </a:lnTo>
                  <a:lnTo>
                    <a:pt x="406784" y="530609"/>
                  </a:lnTo>
                  <a:lnTo>
                    <a:pt x="393316" y="517141"/>
                  </a:lnTo>
                  <a:lnTo>
                    <a:pt x="405631" y="504825"/>
                  </a:lnTo>
                  <a:lnTo>
                    <a:pt x="294418" y="504825"/>
                  </a:lnTo>
                  <a:cubicBezTo>
                    <a:pt x="289874" y="531844"/>
                    <a:pt x="266435" y="552450"/>
                    <a:pt x="238125" y="552450"/>
                  </a:cubicBezTo>
                  <a:cubicBezTo>
                    <a:pt x="206562" y="552450"/>
                    <a:pt x="180975" y="526863"/>
                    <a:pt x="180975" y="495300"/>
                  </a:cubicBezTo>
                  <a:cubicBezTo>
                    <a:pt x="180975" y="463737"/>
                    <a:pt x="206562" y="438150"/>
                    <a:pt x="238125" y="438150"/>
                  </a:cubicBezTo>
                  <a:close/>
                  <a:moveTo>
                    <a:pt x="200025" y="219075"/>
                  </a:moveTo>
                  <a:cubicBezTo>
                    <a:pt x="231588" y="219075"/>
                    <a:pt x="257175" y="244662"/>
                    <a:pt x="257175" y="276225"/>
                  </a:cubicBezTo>
                  <a:cubicBezTo>
                    <a:pt x="257175" y="307788"/>
                    <a:pt x="231588" y="333375"/>
                    <a:pt x="200025" y="333375"/>
                  </a:cubicBezTo>
                  <a:cubicBezTo>
                    <a:pt x="171715" y="333375"/>
                    <a:pt x="148276" y="312769"/>
                    <a:pt x="143732" y="285750"/>
                  </a:cubicBezTo>
                  <a:lnTo>
                    <a:pt x="119063" y="285750"/>
                  </a:lnTo>
                  <a:cubicBezTo>
                    <a:pt x="63912" y="285750"/>
                    <a:pt x="19050" y="330617"/>
                    <a:pt x="19050" y="385763"/>
                  </a:cubicBezTo>
                  <a:cubicBezTo>
                    <a:pt x="19050" y="440908"/>
                    <a:pt x="63912" y="485775"/>
                    <a:pt x="119063" y="485775"/>
                  </a:cubicBezTo>
                  <a:lnTo>
                    <a:pt x="138931" y="485775"/>
                  </a:lnTo>
                  <a:lnTo>
                    <a:pt x="126616" y="473459"/>
                  </a:lnTo>
                  <a:lnTo>
                    <a:pt x="140084" y="459991"/>
                  </a:lnTo>
                  <a:lnTo>
                    <a:pt x="175394" y="495300"/>
                  </a:lnTo>
                  <a:lnTo>
                    <a:pt x="140084" y="530609"/>
                  </a:lnTo>
                  <a:lnTo>
                    <a:pt x="126616" y="517141"/>
                  </a:lnTo>
                  <a:lnTo>
                    <a:pt x="138931" y="504825"/>
                  </a:lnTo>
                  <a:lnTo>
                    <a:pt x="119063" y="504825"/>
                  </a:lnTo>
                  <a:cubicBezTo>
                    <a:pt x="53411" y="504825"/>
                    <a:pt x="0" y="451415"/>
                    <a:pt x="0" y="385763"/>
                  </a:cubicBezTo>
                  <a:cubicBezTo>
                    <a:pt x="0" y="320110"/>
                    <a:pt x="53411" y="266700"/>
                    <a:pt x="119063" y="266700"/>
                  </a:cubicBezTo>
                  <a:lnTo>
                    <a:pt x="143732" y="266700"/>
                  </a:lnTo>
                  <a:cubicBezTo>
                    <a:pt x="148276" y="239681"/>
                    <a:pt x="171715" y="219075"/>
                    <a:pt x="200025" y="219075"/>
                  </a:cubicBezTo>
                  <a:close/>
                  <a:moveTo>
                    <a:pt x="333375" y="0"/>
                  </a:moveTo>
                  <a:cubicBezTo>
                    <a:pt x="361686" y="0"/>
                    <a:pt x="385125" y="20606"/>
                    <a:pt x="389668" y="47625"/>
                  </a:cubicBezTo>
                  <a:lnTo>
                    <a:pt x="452438" y="47625"/>
                  </a:lnTo>
                  <a:cubicBezTo>
                    <a:pt x="518090" y="47625"/>
                    <a:pt x="571500" y="101035"/>
                    <a:pt x="571500" y="166688"/>
                  </a:cubicBezTo>
                  <a:cubicBezTo>
                    <a:pt x="571500" y="232340"/>
                    <a:pt x="518090" y="285750"/>
                    <a:pt x="452438" y="285750"/>
                  </a:cubicBezTo>
                  <a:lnTo>
                    <a:pt x="299220" y="285750"/>
                  </a:lnTo>
                  <a:lnTo>
                    <a:pt x="311534" y="298066"/>
                  </a:lnTo>
                  <a:lnTo>
                    <a:pt x="298066" y="311534"/>
                  </a:lnTo>
                  <a:lnTo>
                    <a:pt x="262756" y="276225"/>
                  </a:lnTo>
                  <a:lnTo>
                    <a:pt x="298066" y="240916"/>
                  </a:lnTo>
                  <a:lnTo>
                    <a:pt x="311534" y="254384"/>
                  </a:lnTo>
                  <a:lnTo>
                    <a:pt x="299220" y="266700"/>
                  </a:lnTo>
                  <a:lnTo>
                    <a:pt x="452438" y="266700"/>
                  </a:lnTo>
                  <a:cubicBezTo>
                    <a:pt x="507588" y="266700"/>
                    <a:pt x="552450" y="221833"/>
                    <a:pt x="552450" y="166688"/>
                  </a:cubicBezTo>
                  <a:cubicBezTo>
                    <a:pt x="552450" y="111543"/>
                    <a:pt x="507588" y="66675"/>
                    <a:pt x="452438" y="66675"/>
                  </a:cubicBezTo>
                  <a:lnTo>
                    <a:pt x="389668" y="66675"/>
                  </a:lnTo>
                  <a:cubicBezTo>
                    <a:pt x="385125" y="93694"/>
                    <a:pt x="361686" y="114300"/>
                    <a:pt x="333375" y="114300"/>
                  </a:cubicBezTo>
                  <a:cubicBezTo>
                    <a:pt x="301812" y="114300"/>
                    <a:pt x="276225" y="88713"/>
                    <a:pt x="276225" y="57150"/>
                  </a:cubicBezTo>
                  <a:cubicBezTo>
                    <a:pt x="276225" y="25587"/>
                    <a:pt x="301812" y="0"/>
                    <a:pt x="333375" y="0"/>
                  </a:cubicBezTo>
                  <a:close/>
                  <a:moveTo>
                    <a:pt x="66675" y="0"/>
                  </a:moveTo>
                  <a:cubicBezTo>
                    <a:pt x="94985" y="0"/>
                    <a:pt x="118424" y="20606"/>
                    <a:pt x="122968" y="47625"/>
                  </a:cubicBezTo>
                  <a:lnTo>
                    <a:pt x="234181" y="47625"/>
                  </a:lnTo>
                  <a:lnTo>
                    <a:pt x="221866" y="35309"/>
                  </a:lnTo>
                  <a:lnTo>
                    <a:pt x="235334" y="21841"/>
                  </a:lnTo>
                  <a:lnTo>
                    <a:pt x="270644" y="57150"/>
                  </a:lnTo>
                  <a:lnTo>
                    <a:pt x="235334" y="92459"/>
                  </a:lnTo>
                  <a:lnTo>
                    <a:pt x="221866" y="78991"/>
                  </a:lnTo>
                  <a:lnTo>
                    <a:pt x="234181" y="66675"/>
                  </a:lnTo>
                  <a:lnTo>
                    <a:pt x="122968" y="66675"/>
                  </a:lnTo>
                  <a:cubicBezTo>
                    <a:pt x="118424" y="93694"/>
                    <a:pt x="94985" y="114300"/>
                    <a:pt x="66675" y="114300"/>
                  </a:cubicBezTo>
                  <a:cubicBezTo>
                    <a:pt x="35112" y="114300"/>
                    <a:pt x="9525" y="88713"/>
                    <a:pt x="9525" y="57150"/>
                  </a:cubicBezTo>
                  <a:cubicBezTo>
                    <a:pt x="9525" y="25587"/>
                    <a:pt x="35112" y="0"/>
                    <a:pt x="66675" y="0"/>
                  </a:cubicBezTo>
                  <a:close/>
                </a:path>
              </a:pathLst>
            </a:custGeom>
            <a:solidFill>
              <a:schemeClr val="bg1"/>
            </a:solidFill>
            <a:ln w="9525" cap="flat">
              <a:noFill/>
              <a:prstDash val="solid"/>
              <a:miter/>
            </a:ln>
          </p:spPr>
          <p:txBody>
            <a:bodyPr rtlCol="0" anchor="ctr"/>
            <a:lstStyle/>
            <a:p>
              <a:pPr defTabSz="685800">
                <a:defRPr/>
              </a:pPr>
              <a:endParaRPr lang="en-US" sz="1350">
                <a:solidFill>
                  <a:prstClr val="black"/>
                </a:solidFill>
                <a:latin typeface="Arial" panose="020B0604020202020204"/>
              </a:endParaRPr>
            </a:p>
          </p:txBody>
        </p:sp>
      </p:grpSp>
      <p:sp>
        <p:nvSpPr>
          <p:cNvPr id="62" name="Slide Number Placeholder 5">
            <a:extLst>
              <a:ext uri="{FF2B5EF4-FFF2-40B4-BE49-F238E27FC236}">
                <a16:creationId xmlns:a16="http://schemas.microsoft.com/office/drawing/2014/main" id="{C30C4C90-BE27-0AB7-444C-39BC763A4196}"/>
              </a:ext>
            </a:extLst>
          </p:cNvPr>
          <p:cNvSpPr>
            <a:spLocks noGrp="1"/>
          </p:cNvSpPr>
          <p:nvPr>
            <p:ph type="sldNum" sz="quarter" idx="4"/>
          </p:nvPr>
        </p:nvSpPr>
        <p:spPr>
          <a:xfrm>
            <a:off x="623392" y="6309323"/>
            <a:ext cx="2844800" cy="365125"/>
          </a:xfrm>
          <a:prstGeom prst="rect">
            <a:avLst/>
          </a:prstGeom>
        </p:spPr>
        <p:txBody>
          <a:bodyPr vert="horz" lIns="91440" tIns="45720" rIns="91440" bIns="45720" rtlCol="0" anchor="ctr"/>
          <a:lstStyle>
            <a:lvl1pPr algn="l">
              <a:defRPr sz="1200">
                <a:solidFill>
                  <a:schemeClr val="tx1"/>
                </a:solidFill>
              </a:defRPr>
            </a:lvl1pPr>
          </a:lstStyle>
          <a:p>
            <a:fld id="{B6362DDE-5EFE-4D6A-AD62-664744385D96}" type="slidenum">
              <a:rPr lang="en-CA" smtClean="0"/>
              <a:pPr/>
              <a:t>8</a:t>
            </a:fld>
            <a:endParaRPr lang="en-CA"/>
          </a:p>
        </p:txBody>
      </p:sp>
      <p:sp>
        <p:nvSpPr>
          <p:cNvPr id="14" name="TextBox 13">
            <a:extLst>
              <a:ext uri="{FF2B5EF4-FFF2-40B4-BE49-F238E27FC236}">
                <a16:creationId xmlns:a16="http://schemas.microsoft.com/office/drawing/2014/main" id="{D4AAC1DB-26F0-1D5B-7890-3E0F4EB75F46}"/>
              </a:ext>
            </a:extLst>
          </p:cNvPr>
          <p:cNvSpPr txBox="1"/>
          <p:nvPr/>
        </p:nvSpPr>
        <p:spPr>
          <a:xfrm>
            <a:off x="898971" y="709766"/>
            <a:ext cx="10865604" cy="541751"/>
          </a:xfrm>
          <a:prstGeom prst="rect">
            <a:avLst/>
          </a:prstGeom>
          <a:noFill/>
        </p:spPr>
        <p:txBody>
          <a:bodyPr wrap="square">
            <a:spAutoFit/>
          </a:bodyPr>
          <a:lstStyle/>
          <a:p>
            <a:pPr marR="0" lvl="0" algn="just">
              <a:lnSpc>
                <a:spcPct val="107000"/>
              </a:lnSpc>
              <a:spcBef>
                <a:spcPts val="0"/>
              </a:spcBef>
              <a:spcAft>
                <a:spcPts val="800"/>
              </a:spcAft>
              <a:buClr>
                <a:schemeClr val="bg2"/>
              </a:buClr>
              <a:tabLst>
                <a:tab pos="457200" algn="l"/>
              </a:tabLst>
            </a:pPr>
            <a:r>
              <a:rPr lang="en-US" sz="1400" kern="100" dirty="0">
                <a:cs typeface="Times New Roman" panose="02020603050405020304" pitchFamily="18" charset="0"/>
              </a:rPr>
              <a:t>As one of the fastest-growing states, Florida must continually improve its transportation infrastructure. Different levels of government, including the state, counties, cities, and towns, have various notification processes for facility relocations.</a:t>
            </a:r>
            <a:endParaRPr kumimoji="0" lang="en-US" sz="1400" b="1" i="0" u="none" strike="noStrike" kern="0" cap="none" spc="0" normalizeH="0" baseline="0" noProof="0" dirty="0">
              <a:ln>
                <a:noFill/>
              </a:ln>
              <a:effectLst/>
              <a:highlight>
                <a:srgbClr val="FFFF00"/>
              </a:highlight>
              <a:uLnTx/>
              <a:uFillTx/>
              <a:latin typeface="Arial"/>
            </a:endParaRPr>
          </a:p>
        </p:txBody>
      </p:sp>
      <p:sp>
        <p:nvSpPr>
          <p:cNvPr id="2" name="TextBox 1">
            <a:extLst>
              <a:ext uri="{FF2B5EF4-FFF2-40B4-BE49-F238E27FC236}">
                <a16:creationId xmlns:a16="http://schemas.microsoft.com/office/drawing/2014/main" id="{DDFB2031-B7F0-0CAC-DF61-E12456616607}"/>
              </a:ext>
            </a:extLst>
          </p:cNvPr>
          <p:cNvSpPr txBox="1"/>
          <p:nvPr/>
        </p:nvSpPr>
        <p:spPr>
          <a:xfrm>
            <a:off x="780082" y="1571960"/>
            <a:ext cx="10934042" cy="461665"/>
          </a:xfrm>
          <a:prstGeom prst="rect">
            <a:avLst/>
          </a:prstGeom>
          <a:noFill/>
        </p:spPr>
        <p:txBody>
          <a:bodyPr wrap="square" rtlCol="0">
            <a:spAutoFit/>
          </a:bodyPr>
          <a:lstStyle/>
          <a:p>
            <a:pPr algn="ctr"/>
            <a:r>
              <a:rPr lang="en-US" dirty="0">
                <a:solidFill>
                  <a:schemeClr val="bg1"/>
                </a:solidFill>
              </a:rPr>
              <a:t>Natural Gas Facilities Relocation Cost Recovery Clause </a:t>
            </a:r>
          </a:p>
        </p:txBody>
      </p:sp>
      <p:sp>
        <p:nvSpPr>
          <p:cNvPr id="15" name="TextBox 14">
            <a:extLst>
              <a:ext uri="{FF2B5EF4-FFF2-40B4-BE49-F238E27FC236}">
                <a16:creationId xmlns:a16="http://schemas.microsoft.com/office/drawing/2014/main" id="{BF69470C-FBE2-8DC8-FCF5-89980D21FF49}"/>
              </a:ext>
            </a:extLst>
          </p:cNvPr>
          <p:cNvSpPr txBox="1"/>
          <p:nvPr/>
        </p:nvSpPr>
        <p:spPr>
          <a:xfrm>
            <a:off x="6443800" y="3609741"/>
            <a:ext cx="5486247" cy="923330"/>
          </a:xfrm>
          <a:prstGeom prst="rect">
            <a:avLst/>
          </a:prstGeom>
          <a:solidFill>
            <a:schemeClr val="tx2">
              <a:lumMod val="20000"/>
              <a:lumOff val="80000"/>
            </a:schemeClr>
          </a:solidFill>
        </p:spPr>
        <p:txBody>
          <a:bodyPr wrap="square" rtlCol="0">
            <a:spAutoFit/>
          </a:bodyPr>
          <a:lstStyle/>
          <a:p>
            <a:r>
              <a:rPr lang="en-US" sz="1800" dirty="0"/>
              <a:t>Given the variety of notification types across different entities, what form of notification satisfies this requirement?</a:t>
            </a:r>
          </a:p>
        </p:txBody>
      </p:sp>
      <p:pic>
        <p:nvPicPr>
          <p:cNvPr id="9" name="Picture 8">
            <a:extLst>
              <a:ext uri="{FF2B5EF4-FFF2-40B4-BE49-F238E27FC236}">
                <a16:creationId xmlns:a16="http://schemas.microsoft.com/office/drawing/2014/main" id="{C443479A-D2D9-E98B-C5D6-CEA92AA796AC}"/>
              </a:ext>
            </a:extLst>
          </p:cNvPr>
          <p:cNvPicPr>
            <a:picLocks noChangeAspect="1"/>
          </p:cNvPicPr>
          <p:nvPr/>
        </p:nvPicPr>
        <p:blipFill>
          <a:blip r:embed="rId21"/>
          <a:stretch>
            <a:fillRect/>
          </a:stretch>
        </p:blipFill>
        <p:spPr>
          <a:xfrm>
            <a:off x="728333" y="3539648"/>
            <a:ext cx="5391150" cy="1181100"/>
          </a:xfrm>
          <a:prstGeom prst="rect">
            <a:avLst/>
          </a:prstGeom>
        </p:spPr>
      </p:pic>
      <p:cxnSp>
        <p:nvCxnSpPr>
          <p:cNvPr id="16" name="Straight Connector 15">
            <a:extLst>
              <a:ext uri="{FF2B5EF4-FFF2-40B4-BE49-F238E27FC236}">
                <a16:creationId xmlns:a16="http://schemas.microsoft.com/office/drawing/2014/main" id="{A04029E4-1F85-0694-22A2-E660259DB312}"/>
              </a:ext>
            </a:extLst>
          </p:cNvPr>
          <p:cNvCxnSpPr>
            <a:cxnSpLocks/>
          </p:cNvCxnSpPr>
          <p:nvPr/>
        </p:nvCxnSpPr>
        <p:spPr>
          <a:xfrm>
            <a:off x="6298388" y="2617376"/>
            <a:ext cx="33385" cy="4057072"/>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8" name="TextBox 7">
            <a:extLst>
              <a:ext uri="{FF2B5EF4-FFF2-40B4-BE49-F238E27FC236}">
                <a16:creationId xmlns:a16="http://schemas.microsoft.com/office/drawing/2014/main" id="{52ECA8ED-1744-A022-1366-9A54B0851037}"/>
              </a:ext>
            </a:extLst>
          </p:cNvPr>
          <p:cNvSpPr txBox="1"/>
          <p:nvPr/>
        </p:nvSpPr>
        <p:spPr>
          <a:xfrm>
            <a:off x="6443800" y="2582046"/>
            <a:ext cx="5236939" cy="313932"/>
          </a:xfrm>
          <a:prstGeom prst="rect">
            <a:avLst/>
          </a:prstGeom>
          <a:noFill/>
        </p:spPr>
        <p:txBody>
          <a:bodyPr wrap="square">
            <a:spAutoFit/>
          </a:bodyPr>
          <a:lstStyle/>
          <a:p>
            <a:pPr algn="ctr" defTabSz="711200">
              <a:lnSpc>
                <a:spcPct val="90000"/>
              </a:lnSpc>
              <a:spcBef>
                <a:spcPct val="0"/>
              </a:spcBef>
              <a:spcAft>
                <a:spcPct val="35000"/>
              </a:spcAft>
            </a:pPr>
            <a:r>
              <a:rPr lang="en-US" sz="1600" b="1" dirty="0"/>
              <a:t>Notifications</a:t>
            </a:r>
            <a:endParaRPr lang="en-US" sz="1600" b="1" kern="1200" dirty="0">
              <a:ea typeface="Calibri"/>
              <a:cs typeface="Calibri"/>
            </a:endParaRPr>
          </a:p>
        </p:txBody>
      </p:sp>
    </p:spTree>
    <p:extLst>
      <p:ext uri="{BB962C8B-B14F-4D97-AF65-F5344CB8AC3E}">
        <p14:creationId xmlns:p14="http://schemas.microsoft.com/office/powerpoint/2010/main" val="2119273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2AD5D2-CE92-CF39-B24A-59F9615C80C7}"/>
              </a:ext>
            </a:extLst>
          </p:cNvPr>
          <p:cNvSpPr>
            <a:spLocks noGrp="1"/>
          </p:cNvSpPr>
          <p:nvPr>
            <p:ph type="title"/>
          </p:nvPr>
        </p:nvSpPr>
        <p:spPr/>
        <p:txBody>
          <a:bodyPr/>
          <a:lstStyle/>
          <a:p>
            <a:r>
              <a:rPr lang="en-US" dirty="0"/>
              <a:t>Implementation Schedule</a:t>
            </a:r>
          </a:p>
        </p:txBody>
      </p:sp>
    </p:spTree>
    <p:extLst>
      <p:ext uri="{BB962C8B-B14F-4D97-AF65-F5344CB8AC3E}">
        <p14:creationId xmlns:p14="http://schemas.microsoft.com/office/powerpoint/2010/main" val="23245472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5gsAAAAAAAAAAAAAIAD///////////////8AAAD///////////////8DAAAAAgD///////8DAAAAAgD///////8DAAAAAgD///////////////////////////////////////////////////////////////////////////////////////////////////////////////////////////////////////////////////////////////////////////////////////////////////////////////////////////////////////////////////////////////////////////////////////////////////////////////////////////////////////////////////////////////////////////////////////////////////////////////////////////////////////////////////////////////////////////////8BACAA////////////////AAAO////////AwAAAAQA////////////////////////////////////////////////////////////////////////////////////////////////////////////////////////////////////////////////////////////////////////////////////////////////////////////////////////////////////////////////////////////////////////////////////////////////////////////////////////////////////////////////////////////////////////////////////////////////////////////////////////////////////////////////////////////////////////////////////////////////////////////////////////AgADAP///////wUAAAACABAAC9V53Re554pHs7tWMzQ/MCUEAAAAAAADAAAAAAADAAAAAwADAAAAAAADAAAABAADAAAAAAADAAAABAADAAEA////////BQAAAAMAEAALkG0nQWj4Q0ar/IIqAadUpQQAAAABAAMAAAACAAMAAAAEAAQAAwD///////8FAAAABAAQAAuKT5zM5Rs4SpIms0cmsTtoBAAAAAIAAwAAAAMAAwAAAAEAAwAAAAI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1XndF7nnikezu1YzND8wJQNEYXRhABsAAAAETGlua2VkU2hhcGVEYXRhAAUAAAAAAAJOYW1lABkAAABMaW5rZWRTaGFwZXNEYXRhUHJvcGVydHkAEFZlcnNpb24AAAAAAAlMYXN0V3JpdGUAX+GGooUBAAAAAQD/////gwCDAAAABV9pZAAQAAAABJBtJ0Fo+ENGq/yCKgGnVKUDRGF0YQAbAAAABExpbmtlZFNoYXBlRGF0YQAFAAAAAAACTmFtZQAZAAAATGlua2VkU2hhcGVzRGF0YVByb3BlcnR5ABBWZXJzaW9uAAEAAAAJTGFzdFdyaXRlABBsF42JAQAAAAIA/////8YAxgAAAAVfaWQAEAAAAASKT5zM5Rs4SpIms0cmsTtoA0RhdGEAUwAAAAhQcmVzZW50YXRpb25TY2FubmVkRm9yTGlua2VkU2hhcGVzAAECTnVtYmVyRm9ybWF0U2VwYXJhdG9yTW9kZQAKAAAAQXV0b21hdGljAAACTmFtZQAkAAAATGlua2VkU2hhcGVQcmVzZW50YXRpb25TZXR0aW5nc0RhdGEAEFZlcnNpb24AAAAAAAlMYXN0V3JpdGUAdOGGoo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EAP///////////////////////////////////////////////////////////////////////////////////////////////////////////////////////////////////////////////////////////////////////////////////////////////////////////////////////////////////////////////////////////////////////////////////////////////////////////////////////////////////////////////////////////////////////////////////////////////////////////////////////////////////////////////////////////////////////////////////////////////////////////////wEAIAH///////////////8AAA7///////8FAAAAAwD///////////////////////////////////////////////////////////////////////////////////////////////////////////////////////////////////////////////////////////////////////////////////////////////////////////////////////////////////////////////////////////////////////////////////////////////////////////////////////////////////////////////////////////////////////////////////////////////////////////////////////////////////////////////////////////////////////////////////////////////////////////////////////8CAAEBAwAAAAIA////////GgAGTGlua2VkU2hhcGVzRGF0YVByb3BlcnR5XzAEAAAAAAAFAAAABAAFAAAAAwADAAEBAwAAAAMA////////GgAGTGlua2VkU2hhcGVzRGF0YVByb3BlcnR5XzEEAAAAAQAFAAAAAgAFAAAAAQAEAAEBAwAAAAQA////////JQAGTGlua2VkU2hhcGVQcmVzZW50YXRpb25TZXR0aW5nc0RhdGFfMAQ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58860699781265"/>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6r6gw4Nh/RNi4f6PUIQKhI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r6gw4Nh/RNi4f6PUIQKhIDRGF0YQAWAAAAAlBlcnNvbmFsSWQAAQAAAAAAAk5hbWUACwAAAFBlcnNvbmFsSWQAEFZlcnNpb24AAAAAAAlMYXN0V3JpdGUABpYaY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3111716181385"/>
  <p:tag name="EMPOWERCHARTSPROPERTIES_A_LENGTH" val="24576"/>
  <p:tag name="RUNTIME_ID" val="38ed9080-7c51-4cc6-8788-ae14c3cce40e"/>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zxEVMhDAoVLtMI/XGm+Hbo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xEVMhDAoVLtMI/XGm+HboDRGF0YQAWAAAAAlBlcnNvbmFsSWQAAQAAAAAAAk5hbWUACwAAAFBlcnNvbmFsSWQAEFZlcnNpb24AAAAAAAlMYXN0V3JpdGUADO8eY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3114565454878"/>
  <p:tag name="EMPOWERCHARTSPROPERTIES_A_LENGTH" val="24576"/>
  <p:tag name="RUNTIME_ID" val="d762e538-7716-4d53-8cd0-c4ad4533447c"/>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Ifu3sFqDZPmm6LtYeZQK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Ifu3sFqDZPmm6LtYeZQKgDRGF0YQAWAAAAAlBlcnNvbmFsSWQAAQAAAAAAAk5hbWUACwAAAFBlcnNvbmFsSWQAEFZlcnNpb24AAAAAAAlMYXN0V3JpdGUAObceY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3114422557514"/>
  <p:tag name="EMPOWERCHARTSPROPERTIES_A_LENGTH" val="24576"/>
  <p:tag name="RUNTIME_ID" val="8356bd2f-fb50-41b7-a56e-a3269dee5b80"/>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8rVdHWjOVtGhc2ksCxnlp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rVdHWjOVtGhc2ksCxnlpIDRGF0YQAWAAAAAlBlcnNvbmFsSWQAAQAAAAAAAk5hbWUACwAAAFBlcnNvbmFsSWQAEFZlcnNpb24AAAAAAAlMYXN0V3JpdGUA4bUeY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3114419113212"/>
  <p:tag name="EMPOWERCHARTSPROPERTIES_A_LENGTH" val="24576"/>
  <p:tag name="RUNTIME_ID" val="b98b5512-43e9-400d-a5df-db3be88b4ed5"/>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G1dxWVyVVLpawkB1Y0TT4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G1dxWVyVVLpawkB1Y0TT4DRGF0YQAWAAAAAlBlcnNvbmFsSWQAAQAAAAAAAk5hbWUACwAAAFBlcnNvbmFsSWQAEFZlcnNpb24AAAAAAAlMYXN0V3JpdGUARvIeY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3114573777771"/>
  <p:tag name="EMPOWERCHARTSPROPERTIES_A_LENGTH" val="24576"/>
  <p:tag name="RUNTIME_ID" val="7b5fe8d9-c7b2-4c42-b7bf-6d5006a9dd30"/>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RUNTIME_ID" val="dfbec99a-f79e-4a53-91e0-ef6088335529"/>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3VKq1xIuc1OvjAd1+O9c9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VKq1xIuc1OvjAd1+O9c9UDRGF0YQAWAAAAAlBlcnNvbmFsSWQAAQAAAAAAAk5hbWUACwAAAFBlcnNvbmFsSWQAEFZlcnNpb24AAAAAAAlMYXN0V3JpdGUAtUJ2l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46332146670189"/>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32aivbaU6dFjLcnVNEnzj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2aivbaU6dFjLcnVNEnzjkDRGF0YQAWAAAAAlBlcnNvbmFsSWQAAQAAAAAAAk5hbWUACwAAAFBlcnNvbmFsSWQAEFZlcnNpb24AAAAAAAlMYXN0V3JpdGUAyO8ZY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3111290552549"/>
  <p:tag name="EMPOWERCHARTSPROPERTIES_A_LENGTH" val="24576"/>
  <p:tag name="RUNTIME_ID" val="9c127ad4-aabf-40a4-882d-daab6c51d502"/>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7JZIut1fSNNihAu0grThqA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JZIut1fSNNihAu0grThqADRGF0YQAWAAAAAlBlcnNvbmFsSWQAAQAAAAAAAk5hbWUACwAAAFBlcnNvbmFsSWQAEFZlcnNpb24AAAAAAAlMYXN0V3JpdGUALvEZY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3111294137374"/>
  <p:tag name="EMPOWERCHARTSPROPERTIES_A_LENGTH" val="24576"/>
  <p:tag name="RUNTIME_ID" val="a0381082-1add-4efc-88c1-9b03bce807ed"/>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AgD///////8DAAAAAgD///////////////////////////////////////////////////////////////////////////////////////////////////////////////////////////////////////////////////////////////////////////////////////////////////////////////////////////////////////////////////////////////////////////////////////////////////////////////////////////////////////////////////////////////////////////////////////////////////////////////////////////////////////////////////////////////////////////////8BACAA////////////////AAAO////////AwAAAAMA////////////////////////////////////////////////////////////////////////////////////////////////////////////////////////////////////////////////////////////////////////////////////////////////////////////////////////////////////////////////////////////////////////////////////////////////////////////////////////////////////////////////////////////////////////////////////////////////////////////////////////////////////////////////////////////////////////////////////////////////////////////////////////AgADAP///////wUAAAACABAAC3gi6y/+vnlGmkpjee4z1oQEAAAAAAADAAAABAADAAAAAwADAAAAAAD///////8DAAAAAAD///////8DAAEA////////BQAAAAMAEAALxic/RG19SkGPTLe1b2YOKAQAAAABAAMAAAACAAMAAAABAAQAAQD///////8FAAAABAAQAAsdPZQoiHjHTqsHszhVqNue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eCLrL/6+eUaaSmN57jPWhAREYXRhAAUAAAAAAk5hbWUADQAAAExpbmtEYXRhTGlzdAAQVmVyc2lvbgAAAAAACUxhc3RXcml0ZQDUS+PSjgEAAAABAP////9hAGEAAAAFX2lkABAAAAAExic/RG19SkGPTLe1b2YOKAREYXRhAAUAAAAAAk5hbWUADQAAAExpbmtEYXRhTGlzdAAQVmVyc2lvbgABAAAACUxhc3RXcml0ZQDVS+PSjgEAAAACAP////9wAHAAAAAFX2lkABAAAAAEHT2UKIh4x06rB7M4VajbngNEYXRhABYAAAACUGVyc29uYWxJZAABAAAAAAACTmFtZQALAAAAUGVyc29uYWxJZAAQVmVyc2lvbgAAAAAACUxhc3RXcml0ZQD8S+P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EAIAH///////////////8AAA7///////8FAAAABAD///////////////////////////////////////////////////////////////////////////////////////////////////////////////////////////////////////////////////////////////////////////////////////////////////////////////////////////////////////////////////////////////////////////////////////////////////////////////////////////////////////////////////////////////////////////////////////////////////////////////////////////////////////////////////////////////////////////////////////////////////////////////////////8CAAMBAwAAAAIA////////DgAGTGlua0RhdGFMaXN0XzAEAAAAAAAFAAAAAAAFAAAAAwAFAAAAAAAFAAAABAAFAAAAAAAFAAAABAADAAEBAwAAAAMA////////DgAGTGlua0RhdGFMaXN0XzEEAAAAAQAFAAAAAgAFAAAABAAEAAMBAwAAAAQA////////DAAGUGVyc29uYWxJZF8wBAAAAAIABQAAAAM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a52647ba-7cb3-42c5-97ef-94c83665c108"/>
  <p:tag name="DOWN_MIGRATION_INITIAL_LAYOUT_REQUIRED" val="9.2.99"/>
  <p:tag name="EMPOWERCHARTSPROPERTIES_LASTWRITEDATE" val="638485318953139734"/>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wD///////8DAAAAAwD///////8DAAAAAwD///////8DAAAAAwD///////////////////////////////////////////////////////////////////////////////////////////////////////////////////////////////////////////////////////////////////////////////////////////////////////////////////////////////////////////////////////////////////////////////////////////////////////////////////////////////////////////////////////////////////////////////////////////////////////////////////////////////////////////////8BACAA////////////////AAAO////////AwAAAAQA////////////////////////////////////////////////////////////////////////////////////////////////////////////////////////////////////////////////////////////////////////////////////////////////////////////////////////////////////////////////////////////////////////////////////////////////////////////////////////////////////////////////////////////////////////////////////////////////////////////////////////////////////////////////////////////////////////////////////////////////////////////////////////AgABAP///////wUAAAACABAAC31DdBowd4JErhKGWmk/2jcEAAAAAAADAAAAAAADAAAAAwADAAUA////////BQAAAAMAEAALX3gVLI4WM0mdi1davsceFAQAAAABAAMAAAACAAMAAAAEAAMAAAAAAP///////wMAAAAAAP///////wMAAAAAAP///////wMAAAAAAP///////wQAAQD///////8FAAAABAAQAAt+HzGCXZMpTpwfcjvqVSk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UN0GjB3gkSuEoZaaT/aNwREYXRhAAUAAAAAAk5hbWUADQAAAExpbmtEYXRhTGlzdAAQVmVyc2lvbgABAAAACUxhc3RXcml0ZQDyTuPSjgEAAAABAP////9hAGEAAAAFX2lkABAAAAAEX3gVLI4WM0mdi1davsceFAREYXRhAAUAAAAAAk5hbWUADQAAAExpbmtEYXRhTGlzdAAQVmVyc2lvbgAAAAAACUxhc3RXcml0ZQDyTuPSjgEAAAACAP////9wAHAAAAAFX2lkABAAAAAEfh8xgl2TKU6cH3I76lUpLgNEYXRhABYAAAACUGVyc29uYWxJZAABAAAAAAACTmFtZQALAAAAUGVyc29uYWxJZAAQVmVyc2lvbgAAAAAACUxhc3RXcml0ZQALT+P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UAAAADAP///////////////////////////////////////////////////////////////////////////////////////////////////////////////////////////////////////////////////////////////////////////////////////////////////////////////////////////////////////////////////////////////////////////////////////////////////////////////////////////////////////////////////////////////////////////////////////////////////////////////////////////////////////////////wEAIAH///////////////8AAA7///////8FAAAABAD///////////////////////////////////////////////////////////////////////////////////////////////////////////////////////////////////////////////////////////////////////////////////////////////////////////////////////////////////////////////////////////////////////////////////////////////////////////////////////////////////////////////////////////////////////////////////////////////////////////////////////////////////////////////////////////////////////////////////////////////////////////////////////8CAAEBAwAAAAIA////////DgAGTGlua0RhdGFMaXN0XzEEAAAAAAAFAAAAAwAFAAAABAADAAUBAwAAAAMA////////DgAGTGlua0RhdGFMaXN0XzAEAAAAAQAFAAAAAAAFAAAAAgA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0765ba70-8096-4214-94c6-e4246a82195a"/>
  <p:tag name="DOWN_MIGRATION_INITIAL_LAYOUT_REQUIRED" val="9.2.99"/>
  <p:tag name="EMPOWERCHARTSPROPERTIES_LASTWRITEDATE" val="638485318961001155"/>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wD///////////////////////////////////////////////////////////////////////////////////////////////////////////////////////////////////////////////////////////////////////////////////////////////////////////////////////////////////////////////////////////////////////////////////////////////////////////////////////////////////////////////////////////////////////////////////////////////////////////////////////////////////////////////////////////////////////////////8BACAA////////////////AAAO////////AwAAAAMA////////////////////////////////////////////////////////////////////////////////////////////////////////////////////////////////////////////////////////////////////////////////////////////////////////////////////////////////////////////////////////////////////////////////////////////////////////////////////////////////////////////////////////////////////////////////////////////////////////////////////////////////////////////////////////////////////////////////////////////////////////////////////////AgACAP///////wUAAAACABAACx0F/R4oDc5Hk5OquGPkfXIEAAAAAAADAAAAAAADAAAABAADAAAAAAADAAAAAwADAAMA////////BQAAAAMAEAALMOE9wxhXFEGTMm5bvR6tZgQAAAABAAMAAAAEAAMAAAABAAMAAAACAP///////wMAAAAAAP///////wQAAQD///////8FAAAABAAQAAvhhJ5m/PIUSK+1+DygTXk4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QX9HigNzkeTk6q4Y+R9cgREYXRhAAUAAAAAAk5hbWUADQAAAExpbmtEYXRhTGlzdAAQVmVyc2lvbgABAAAACUxhc3RXcml0ZQAoUOPSjgEAAAABAP////9hAGEAAAAFX2lkABAAAAAEMOE9wxhXFEGTMm5bvR6tZgREYXRhAAUAAAAAAk5hbWUADQAAAExpbmtEYXRhTGlzdAAQVmVyc2lvbgAAAAAACUxhc3RXcml0ZQAnUOPSjgEAAAACAP////9wAHAAAAAFX2lkABAAAAAE4YSeZvzyFEivtfg8oE15OANEYXRhABYAAAACUGVyc29uYWxJZAABAAAAAAACTmFtZQALAAAAUGVyc29uYWxJZAAQVmVyc2lvbgAAAAAACUxhc3RXcml0ZQBDUOPSj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EAIAH///////////////8AAA7///////8FAAAABAD///////////////////////////////////////////////////////////////////////////////////////////////////////////////////////////////////////////////////////////////////////////////////////////////////////////////////////////////////////////////////////////////////////////////////////////////////////////////////////////////////////////////////////////////////////////////////////////////////////////////////////////////////////////////////////////////////////////////////////////////////////////////////////8CAAIBAwAAAAIA////////DgAGTGlua0RhdGFMaXN0XzEEAAAAAAAFAAAAAwAFAAAABAAFAAAAAwD///////8DAAMBAwAAAAMA////////DgAGTGlua0RhdGFMaXN0XzAEAAAAAQAFAAAAAAAFAAAAAgAFAAAAAAAFAAAAAgA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RUNTIME_ID" val="53f2455f-56b5-48d7-ad46-a536fe05701a"/>
  <p:tag name="DOWN_MIGRATION_INITIAL_LAYOUT_REQUIRED" val="9.2.99"/>
  <p:tag name="EMPOWERCHARTSPROPERTIES_LASTWRITEDATE" val="638485318965638721"/>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1PLoitrJs5KvWC00PhkfU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PLoitrJs5KvWC00PhkfUwDRGF0YQAWAAAAAlBlcnNvbmFsSWQAAQAAAAAAAk5hbWUACwAAAFBlcnNvbmFsSWQAEFZlcnNpb24AAAAAAAlMYXN0V3JpdGUABNUfYI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23115154214638"/>
  <p:tag name="EMPOWERCHARTSPROPERTIES_A_LENGTH" val="24576"/>
  <p:tag name="RUNTIME_ID" val="d8eca296-4a84-47c0-8d5c-2f970a3032a1"/>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RUNTIME_ID" val="d7b36bd8-6e1a-4849-a00a-10d18b13adf1"/>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wMAdAwAAAAAAAAAAAAAIAD///////////////8AAAD///////////////8DAAAAAgD///////8DAAAAAgD///////////////////////////////////////////////////////////////////////////////////////////////////////////////////////////////////////////////////////////////////////////////////////////////////////////////////////////////////////////////////////////////////////////////////////////////////////////////////////////////////////////////////////////////////////////////////////////////////////////////////////////////////////////////////////////////////////////////////////////////8BACAA////////////////AAAO////////AwAAAAIA////////////////////////////////////////////////////////////////////////////////////////////////////////////////////////////////////////////////////////////////////////////////////////////////////////////////////////////////////////////////////////////////////////////////////////////////////////////////////////////////////////////////////////////////////////////////////////////////////////////////////////////////////////////////////////////////////////////////////////////////////////////////////////AgACAP///////wQAAAACABAAC1TMpy2hxQlPk9oS2OONTVE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TMpy2hxQlPk9oS2OONTVEDRGF0YQAWAAAAAlBlcnNvbmFsSWQAAQAAAAAAAk5hbWUACwAAAFBlcnNvbmFsSWQAEFZlcnNpb24AAAAAAAlMYXN0V3JpdGUAjkJ2l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46332146295346"/>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yLZzOaPl6xNtk9igq+jTRg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LZzOaPl6xNtk9igq+jTRgDRGF0YQAWAAAAAlBlcnNvbmFsSWQAAQAAAAAAAk5hbWUACwAAAFBlcnNvbmFsSWQAEFZlcnNpb24AAAAAAAlMYXN0V3JpdGUAkk52l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6332177129265"/>
  <p:tag name="EMPOWERCHARTSPROPERTIES_A_LENGTH" val="24576"/>
  <p:tag name="RUNTIME_ID" val="57929e47-7766-4966-8458-c4d34075e9bd"/>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9xCc3jerChAt+7szvuMl0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xCc3jerChAt+7szvuMl0MDRGF0YQAWAAAAAlBlcnNvbmFsSWQAAQAAAAAAAk5hbWUACwAAAFBlcnNvbmFsSWQAEFZlcnNpb24AAAAAAAlMYXN0V3JpdGUAclN2l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6332189548544"/>
  <p:tag name="EMPOWERCHARTSPROPERTIES_A_LENGTH" val="24576"/>
  <p:tag name="RUNTIME_ID" val="8724137e-406b-4f9a-8641-965cc4226f89"/>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wVTwDcUDZlJoJff/nMF7h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VTwDcUDZlJoJff/nMF7hUDRGF0YQAWAAAAAlBlcnNvbmFsSWQAAQAAAAAAAk5hbWUACwAAAFBlcnNvbmFsSWQAEFZlcnNpb24AAAAAAAlMYXN0V3JpdGUAG1V2l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6332193788517"/>
  <p:tag name="EMPOWERCHARTSPROPERTIES_A_LENGTH" val="24576"/>
  <p:tag name="RUNTIME_ID" val="25352a50-6b78-4140-8620-469dd81dbdfd"/>
</p:tagLst>
</file>

<file path=ppt/theme/theme1.xml><?xml version="1.0" encoding="utf-8"?>
<a:theme xmlns:a="http://schemas.openxmlformats.org/drawingml/2006/main" name="1_Peoples Gas">
  <a:themeElements>
    <a:clrScheme name="NSP Emera">
      <a:dk1>
        <a:sysClr val="windowText" lastClr="000000"/>
      </a:dk1>
      <a:lt1>
        <a:sysClr val="window" lastClr="FFFFFF"/>
      </a:lt1>
      <a:dk2>
        <a:srgbClr val="FFDC00"/>
      </a:dk2>
      <a:lt2>
        <a:srgbClr val="005FAA"/>
      </a:lt2>
      <a:accent1>
        <a:srgbClr val="FFDC00"/>
      </a:accent1>
      <a:accent2>
        <a:srgbClr val="005FAA"/>
      </a:accent2>
      <a:accent3>
        <a:srgbClr val="7F7F7F"/>
      </a:accent3>
      <a:accent4>
        <a:srgbClr val="C00000"/>
      </a:accent4>
      <a:accent5>
        <a:srgbClr val="996633"/>
      </a:accent5>
      <a:accent6>
        <a:srgbClr val="FF9900"/>
      </a:accent6>
      <a:hlink>
        <a:srgbClr val="005FAA"/>
      </a:hlink>
      <a:folHlink>
        <a:srgbClr val="26262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tem 11c - V2 Big Bend Modernization Feb 7 2018 009" id="{43A38372-5F99-42C5-B0B2-73451278E684}" vid="{F0A2B4E9-0F3A-4453-A39B-A4440A8D65AB}"/>
    </a:ext>
  </a:extLst>
</a:theme>
</file>

<file path=ppt/theme/theme2.xml><?xml version="1.0" encoding="utf-8"?>
<a:theme xmlns:a="http://schemas.openxmlformats.org/drawingml/2006/main" name="Peoples Gas">
  <a:themeElements>
    <a:clrScheme name="NSP Emera">
      <a:dk1>
        <a:sysClr val="windowText" lastClr="000000"/>
      </a:dk1>
      <a:lt1>
        <a:sysClr val="window" lastClr="FFFFFF"/>
      </a:lt1>
      <a:dk2>
        <a:srgbClr val="FFDC00"/>
      </a:dk2>
      <a:lt2>
        <a:srgbClr val="005FAA"/>
      </a:lt2>
      <a:accent1>
        <a:srgbClr val="FFDC00"/>
      </a:accent1>
      <a:accent2>
        <a:srgbClr val="005FAA"/>
      </a:accent2>
      <a:accent3>
        <a:srgbClr val="7F7F7F"/>
      </a:accent3>
      <a:accent4>
        <a:srgbClr val="C00000"/>
      </a:accent4>
      <a:accent5>
        <a:srgbClr val="996633"/>
      </a:accent5>
      <a:accent6>
        <a:srgbClr val="FF9900"/>
      </a:accent6>
      <a:hlink>
        <a:srgbClr val="005FAA"/>
      </a:hlink>
      <a:folHlink>
        <a:srgbClr val="26262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tem 11c - V2 Big Bend Modernization Feb 7 2018 009" id="{43A38372-5F99-42C5-B0B2-73451278E684}" vid="{F0A2B4E9-0F3A-4453-A39B-A4440A8D65AB}"/>
    </a:ext>
  </a:extLst>
</a:theme>
</file>

<file path=ppt/theme/theme3.xml><?xml version="1.0" encoding="utf-8"?>
<a:theme xmlns:a="http://schemas.openxmlformats.org/drawingml/2006/main" name="Peoples Gas">
  <a:themeElements>
    <a:clrScheme name="Custom 1">
      <a:dk1>
        <a:sysClr val="windowText" lastClr="000000"/>
      </a:dk1>
      <a:lt1>
        <a:sysClr val="window" lastClr="FFFFFF"/>
      </a:lt1>
      <a:dk2>
        <a:srgbClr val="FFDC00"/>
      </a:dk2>
      <a:lt2>
        <a:srgbClr val="005FAA"/>
      </a:lt2>
      <a:accent1>
        <a:srgbClr val="FFDC00"/>
      </a:accent1>
      <a:accent2>
        <a:srgbClr val="005FAA"/>
      </a:accent2>
      <a:accent3>
        <a:srgbClr val="7F7F7F"/>
      </a:accent3>
      <a:accent4>
        <a:srgbClr val="C00000"/>
      </a:accent4>
      <a:accent5>
        <a:srgbClr val="996633"/>
      </a:accent5>
      <a:accent6>
        <a:srgbClr val="FF9900"/>
      </a:accent6>
      <a:hlink>
        <a:srgbClr val="005FAA"/>
      </a:hlink>
      <a:folHlink>
        <a:srgbClr val="26262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tem 11c - V2 Big Bend Modernization Feb 7 2018 009" id="{43A38372-5F99-42C5-B0B2-73451278E684}" vid="{F0A2B4E9-0F3A-4453-A39B-A4440A8D65AB}"/>
    </a:ext>
  </a:extLst>
</a:theme>
</file>

<file path=ppt/theme/theme4.xml><?xml version="1.0" encoding="utf-8"?>
<a:theme xmlns:a="http://schemas.openxmlformats.org/drawingml/2006/main" name="Peoples Gas">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tem 11c - V2 Big Bend Modernization Feb 7 2018 009" id="{43A38372-5F99-42C5-B0B2-73451278E684}" vid="{F0A2B4E9-0F3A-4453-A39B-A4440A8D65A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71a8655-4b08-4eb5-87e5-8cec125ebd07">
      <UserInfo>
        <DisplayName>Sola Diaz, Liliana B.</DisplayName>
        <AccountId>218</AccountId>
        <AccountType/>
      </UserInfo>
    </SharedWithUsers>
    <lcf76f155ced4ddcb4097134ff3c332f xmlns="10035198-45bd-4777-b7bc-1f8c6d56d49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8FDAD51EA7E9F47B465363C08F1D751" ma:contentTypeVersion="14" ma:contentTypeDescription="Create a new document." ma:contentTypeScope="" ma:versionID="3965f3e25f9d84b7551403487edb6953">
  <xsd:schema xmlns:xsd="http://www.w3.org/2001/XMLSchema" xmlns:xs="http://www.w3.org/2001/XMLSchema" xmlns:p="http://schemas.microsoft.com/office/2006/metadata/properties" xmlns:ns2="10035198-45bd-4777-b7bc-1f8c6d56d496" xmlns:ns3="271a8655-4b08-4eb5-87e5-8cec125ebd07" targetNamespace="http://schemas.microsoft.com/office/2006/metadata/properties" ma:root="true" ma:fieldsID="b4661b5b4694cb356c4fc635874c4588" ns2:_="" ns3:_="">
    <xsd:import namespace="10035198-45bd-4777-b7bc-1f8c6d56d496"/>
    <xsd:import namespace="271a8655-4b08-4eb5-87e5-8cec125ebd0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bjectDetectorVersions" minOccurs="0"/>
                <xsd:element ref="ns2:MediaServiceSearchProperties" minOccurs="0"/>
                <xsd:element ref="ns3:SharedWithUsers" minOccurs="0"/>
                <xsd:element ref="ns3:SharedWithDetail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035198-45bd-4777-b7bc-1f8c6d56d4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d90dcfc-fae9-4e4b-a5af-fefb3c7f5e29"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1a8655-4b08-4eb5-87e5-8cec125ebd0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E436CD-2A19-48DE-B07D-B8A4CF8B30F0}">
  <ds:schemaRefs>
    <ds:schemaRef ds:uri="http://purl.org/dc/terms/"/>
    <ds:schemaRef ds:uri="http://www.w3.org/XML/1998/namespace"/>
    <ds:schemaRef ds:uri="http://schemas.microsoft.com/office/2006/documentManagement/types"/>
    <ds:schemaRef ds:uri="http://schemas.microsoft.com/office/2006/metadata/properties"/>
    <ds:schemaRef ds:uri="http://purl.org/dc/elements/1.1/"/>
    <ds:schemaRef ds:uri="271a8655-4b08-4eb5-87e5-8cec125ebd07"/>
    <ds:schemaRef ds:uri="10035198-45bd-4777-b7bc-1f8c6d56d496"/>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C75995A9-8A14-4571-BFB7-53307E4B68E6}">
  <ds:schemaRefs>
    <ds:schemaRef ds:uri="10035198-45bd-4777-b7bc-1f8c6d56d496"/>
    <ds:schemaRef ds:uri="271a8655-4b08-4eb5-87e5-8cec125ebd0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29A8EC9-7319-479A-965A-EBD71C04854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1</TotalTime>
  <Words>1018</Words>
  <Application>Microsoft Office PowerPoint</Application>
  <PresentationFormat>Widescreen</PresentationFormat>
  <Paragraphs>81</Paragraphs>
  <Slides>10</Slides>
  <Notes>3</Notes>
  <HiddenSlides>0</HiddenSlides>
  <MMClips>0</MMClips>
  <ScaleCrop>false</ScaleCrop>
  <HeadingPairs>
    <vt:vector size="6" baseType="variant">
      <vt:variant>
        <vt:lpstr>Fonts Used</vt:lpstr>
      </vt:variant>
      <vt:variant>
        <vt:i4>6</vt:i4>
      </vt:variant>
      <vt:variant>
        <vt:lpstr>Theme</vt:lpstr>
      </vt:variant>
      <vt:variant>
        <vt:i4>4</vt:i4>
      </vt:variant>
      <vt:variant>
        <vt:lpstr>Slide Titles</vt:lpstr>
      </vt:variant>
      <vt:variant>
        <vt:i4>10</vt:i4>
      </vt:variant>
    </vt:vector>
  </HeadingPairs>
  <TitlesOfParts>
    <vt:vector size="20" baseType="lpstr">
      <vt:lpstr>Aptos</vt:lpstr>
      <vt:lpstr>Arial</vt:lpstr>
      <vt:lpstr>Calibri</vt:lpstr>
      <vt:lpstr>Corbel</vt:lpstr>
      <vt:lpstr>Times New Roman</vt:lpstr>
      <vt:lpstr>Wingdings</vt:lpstr>
      <vt:lpstr>1_Peoples Gas</vt:lpstr>
      <vt:lpstr>Peoples Gas</vt:lpstr>
      <vt:lpstr>Peoples Gas</vt:lpstr>
      <vt:lpstr>Peoples Gas</vt:lpstr>
      <vt:lpstr>Natural Gas Facilities Relocation Cost Recovery Clause Rule Development Workshop </vt:lpstr>
      <vt:lpstr>Thank you and Introductions</vt:lpstr>
      <vt:lpstr>Safety Tip</vt:lpstr>
      <vt:lpstr>Agenda</vt:lpstr>
      <vt:lpstr>Why is the Clause Important?</vt:lpstr>
      <vt:lpstr>Facility Relocation Overview </vt:lpstr>
      <vt:lpstr>Thoughts on Rule and Other Questions</vt:lpstr>
      <vt:lpstr>Other Questions</vt:lpstr>
      <vt:lpstr>Implementation Schedule</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peline Safety and Regulatory All Hands Meeting</dc:title>
  <dc:creator>Roop, Colleen P.</dc:creator>
  <cp:lastModifiedBy>Susan Sapoznikoff</cp:lastModifiedBy>
  <cp:revision>3</cp:revision>
  <cp:lastPrinted>2023-10-25T16:56:33Z</cp:lastPrinted>
  <dcterms:created xsi:type="dcterms:W3CDTF">2021-02-12T15:05:25Z</dcterms:created>
  <dcterms:modified xsi:type="dcterms:W3CDTF">2024-12-16T13:2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83f872e-d8d7-43ac-9961-0f2ad31e50e5_Enabled">
    <vt:lpwstr>true</vt:lpwstr>
  </property>
  <property fmtid="{D5CDD505-2E9C-101B-9397-08002B2CF9AE}" pid="3" name="MSIP_Label_a83f872e-d8d7-43ac-9961-0f2ad31e50e5_SetDate">
    <vt:lpwstr>2023-01-13T17:48:20Z</vt:lpwstr>
  </property>
  <property fmtid="{D5CDD505-2E9C-101B-9397-08002B2CF9AE}" pid="4" name="MSIP_Label_a83f872e-d8d7-43ac-9961-0f2ad31e50e5_Method">
    <vt:lpwstr>Standard</vt:lpwstr>
  </property>
  <property fmtid="{D5CDD505-2E9C-101B-9397-08002B2CF9AE}" pid="5" name="MSIP_Label_a83f872e-d8d7-43ac-9961-0f2ad31e50e5_Name">
    <vt:lpwstr>a83f872e-d8d7-43ac-9961-0f2ad31e50e5</vt:lpwstr>
  </property>
  <property fmtid="{D5CDD505-2E9C-101B-9397-08002B2CF9AE}" pid="6" name="MSIP_Label_a83f872e-d8d7-43ac-9961-0f2ad31e50e5_SiteId">
    <vt:lpwstr>fa8c194a-f8e2-43c5-bc39-b637579e39e0</vt:lpwstr>
  </property>
  <property fmtid="{D5CDD505-2E9C-101B-9397-08002B2CF9AE}" pid="7" name="MSIP_Label_a83f872e-d8d7-43ac-9961-0f2ad31e50e5_ActionId">
    <vt:lpwstr>54f2f787-f664-4078-83ee-e98d905aa586</vt:lpwstr>
  </property>
  <property fmtid="{D5CDD505-2E9C-101B-9397-08002B2CF9AE}" pid="8" name="MSIP_Label_a83f872e-d8d7-43ac-9961-0f2ad31e50e5_ContentBits">
    <vt:lpwstr>0</vt:lpwstr>
  </property>
  <property fmtid="{D5CDD505-2E9C-101B-9397-08002B2CF9AE}" pid="9" name="ContentTypeId">
    <vt:lpwstr>0x010100F8FDAD51EA7E9F47B465363C08F1D751</vt:lpwstr>
  </property>
  <property fmtid="{D5CDD505-2E9C-101B-9397-08002B2CF9AE}" pid="10" name="xd_ProgID">
    <vt:lpwstr/>
  </property>
  <property fmtid="{D5CDD505-2E9C-101B-9397-08002B2CF9AE}" pid="11" name="MediaServiceImageTags">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bool>false</vt:bool>
  </property>
</Properties>
</file>